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86"/>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Size Bracket" id="{F7DA6A46-59EA-4507-8D43-3942363C4C86}">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bleStyles" Target="tableStyle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microsoft.com/office/2018/10/relationships/authors" Target="author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3880000000000001</c:v>
                </c:pt>
                <c:pt idx="3">
                  <c:v>0.12379999999999999</c:v>
                </c:pt>
                <c:pt idx="4">
                  <c:v>0.42670000000000002</c:v>
                </c:pt>
                <c:pt idx="5">
                  <c:v>0.210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3880000000000001</c:v>
                </c:pt>
                <c:pt idx="3">
                  <c:v>0.12379999999999999</c:v>
                </c:pt>
                <c:pt idx="4">
                  <c:v>0.42670000000000002</c:v>
                </c:pt>
                <c:pt idx="5">
                  <c:v>0.210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588493934911453</c:v>
                </c:pt>
                <c:pt idx="4">
                  <c:v>2.2390625098833761E-2</c:v>
                </c:pt>
                <c:pt idx="5">
                  <c:v>0.48752033758852159</c:v>
                </c:pt>
                <c:pt idx="6">
                  <c:v>3.995123402850997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8560673316729203</c:v>
                </c:pt>
                <c:pt idx="5">
                  <c:v>0.101435769124919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6318977189908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8.8237666396748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2.7820618182252944E-4</c:v>
                </c:pt>
                <c:pt idx="4">
                  <c:v>2.2390625098833761E-2</c:v>
                </c:pt>
                <c:pt idx="5">
                  <c:v>0.1346571301677694</c:v>
                </c:pt>
                <c:pt idx="6">
                  <c:v>3.995123402850997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018187685461738</c:v>
                </c:pt>
                <c:pt idx="4">
                  <c:v>1.6386580516175052E-2</c:v>
                </c:pt>
                <c:pt idx="5">
                  <c:v>0.49161168223958929</c:v>
                </c:pt>
                <c:pt idx="6">
                  <c:v>1.181986038961826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7976649108206537</c:v>
                </c:pt>
                <c:pt idx="5">
                  <c:v>0.113533278175020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0.1000311054065661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1538577255202636E-4</c:v>
                </c:pt>
                <c:pt idx="4">
                  <c:v>1.6386580516175055E-2</c:v>
                </c:pt>
                <c:pt idx="5">
                  <c:v>0.11375019107260274</c:v>
                </c:pt>
                <c:pt idx="6">
                  <c:v>1.1819860389618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593047473851809</c:v>
                </c:pt>
                <c:pt idx="4">
                  <c:v>2.5558696901447086E-2</c:v>
                </c:pt>
                <c:pt idx="5">
                  <c:v>0.478510828360034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9560086799769093</c:v>
                </c:pt>
                <c:pt idx="5">
                  <c:v>8.05749731059066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37258079183278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0.1175948410456020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3.2960674082718516E-4</c:v>
                </c:pt>
                <c:pt idx="4">
                  <c:v>2.5558696901447086E-2</c:v>
                </c:pt>
                <c:pt idx="5">
                  <c:v>0.1366152062901982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1469999999999998</c:v>
                </c:pt>
                <c:pt idx="2">
                  <c:v>0.22209999999999999</c:v>
                </c:pt>
                <c:pt idx="3">
                  <c:v>0.16370000000000001</c:v>
                </c:pt>
                <c:pt idx="4">
                  <c:v>0.25140000000000001</c:v>
                </c:pt>
                <c:pt idx="5">
                  <c:v>4.76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9168034978318356E-3</c:v>
                </c:pt>
                <c:pt idx="1">
                  <c:v>3.4984186478661645E-2</c:v>
                </c:pt>
                <c:pt idx="2">
                  <c:v>0.12057696366540469</c:v>
                </c:pt>
                <c:pt idx="3">
                  <c:v>0.24394239554040859</c:v>
                </c:pt>
                <c:pt idx="4">
                  <c:v>0.40726527506674604</c:v>
                </c:pt>
                <c:pt idx="5">
                  <c:v>0.1876677037620601</c:v>
                </c:pt>
                <c:pt idx="6">
                  <c:v>6.4667198888705268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976509875827702</c:v>
                </c:pt>
                <c:pt idx="2">
                  <c:v>0.20959695456476174</c:v>
                </c:pt>
                <c:pt idx="3">
                  <c:v>0.16789242813392036</c:v>
                </c:pt>
                <c:pt idx="4">
                  <c:v>0.332299698436339</c:v>
                </c:pt>
                <c:pt idx="5">
                  <c:v>0.179960675638434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8.2098172766123009E-2</c:v>
                </c:pt>
                <c:pt idx="2">
                  <c:v>5.7943830949497767E-2</c:v>
                </c:pt>
                <c:pt idx="3">
                  <c:v>4.2701024220851792E-2</c:v>
                </c:pt>
                <c:pt idx="4">
                  <c:v>6.5590918261191081E-2</c:v>
                </c:pt>
                <c:pt idx="5">
                  <c:v>1.242883612809747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970710399685453E-2</c:v>
                </c:pt>
                <c:pt idx="2">
                  <c:v>2.6146841651990622E-2</c:v>
                </c:pt>
                <c:pt idx="3">
                  <c:v>9.485304119917308E-2</c:v>
                </c:pt>
                <c:pt idx="4">
                  <c:v>4.499118227000734E-2</c:v>
                </c:pt>
                <c:pt idx="5">
                  <c:v>7.759216733359268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1006066755415164E-2</c:v>
                </c:pt>
                <c:pt idx="3">
                  <c:v>2.6441561849660927E-2</c:v>
                </c:pt>
                <c:pt idx="4">
                  <c:v>8.8039606848534527E-2</c:v>
                </c:pt>
                <c:pt idx="5">
                  <c:v>3.88988595532718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7.9598219952994806E-3</c:v>
                </c:pt>
                <c:pt idx="2">
                  <c:v>7.1942690401433543E-2</c:v>
                </c:pt>
                <c:pt idx="3">
                  <c:v>3.8968008642345738E-3</c:v>
                </c:pt>
                <c:pt idx="4">
                  <c:v>6.7446694636725937E-2</c:v>
                </c:pt>
                <c:pt idx="5">
                  <c:v>9.748964456850599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2.5575248064246526E-3</c:v>
                </c:pt>
                <c:pt idx="4">
                  <c:v>6.6231296419880084E-2</c:v>
                </c:pt>
                <c:pt idx="5">
                  <c:v>4.12918481666221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3239999999999997</c:v>
                </c:pt>
                <c:pt idx="2">
                  <c:v>0.27910000000000001</c:v>
                </c:pt>
                <c:pt idx="3">
                  <c:v>3.09E-2</c:v>
                </c:pt>
                <c:pt idx="4">
                  <c:v>0.3024</c:v>
                </c:pt>
                <c:pt idx="5">
                  <c:v>5.4100000000000002E-2</c:v>
                </c:pt>
                <c:pt idx="6">
                  <c:v>1.1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468357751020842</c:v>
                </c:pt>
                <c:pt idx="2">
                  <c:v>0.23538969436701587</c:v>
                </c:pt>
                <c:pt idx="3">
                  <c:v>0.11727718156320037</c:v>
                </c:pt>
                <c:pt idx="4">
                  <c:v>0.26925060975128168</c:v>
                </c:pt>
                <c:pt idx="5">
                  <c:v>0.23036885781261315</c:v>
                </c:pt>
                <c:pt idx="6">
                  <c:v>8.778814038047288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9.2660402847081449E-2</c:v>
                </c:pt>
                <c:pt idx="2">
                  <c:v>7.7800554359570215E-2</c:v>
                </c:pt>
                <c:pt idx="3">
                  <c:v>8.6251124281583498E-3</c:v>
                </c:pt>
                <c:pt idx="4">
                  <c:v>8.4284223346426851E-2</c:v>
                </c:pt>
                <c:pt idx="5">
                  <c:v>1.5077396017676884E-2</c:v>
                </c:pt>
                <c:pt idx="6">
                  <c:v>3.03847035099253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6790219135821485E-2</c:v>
                </c:pt>
                <c:pt idx="2">
                  <c:v>5.4005130251259748E-2</c:v>
                </c:pt>
                <c:pt idx="3">
                  <c:v>8.0793952137310415E-2</c:v>
                </c:pt>
                <c:pt idx="4">
                  <c:v>9.5701064800259653E-3</c:v>
                </c:pt>
                <c:pt idx="5">
                  <c:v>9.4055171558825854E-2</c:v>
                </c:pt>
                <c:pt idx="6">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7.8311404423753145E-2</c:v>
                </c:pt>
                <c:pt idx="3">
                  <c:v>1.8882348219866989E-2</c:v>
                </c:pt>
                <c:pt idx="4">
                  <c:v>7.9747482769148073E-2</c:v>
                </c:pt>
                <c:pt idx="5">
                  <c:v>5.151538746637596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4.876471996844424E-2</c:v>
                </c:pt>
                <c:pt idx="5">
                  <c:v>4.69606592107808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7385153119181269E-2</c:v>
                </c:pt>
                <c:pt idx="2">
                  <c:v>2.5272605332432765E-2</c:v>
                </c:pt>
                <c:pt idx="3">
                  <c:v>8.9757687778646202E-3</c:v>
                </c:pt>
                <c:pt idx="4">
                  <c:v>4.6884077187236556E-2</c:v>
                </c:pt>
                <c:pt idx="5">
                  <c:v>2.276024355895354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9509999999999997</c:v>
                </c:pt>
                <c:pt idx="2">
                  <c:v>0.2591</c:v>
                </c:pt>
                <c:pt idx="3">
                  <c:v>9.8100000000000007E-2</c:v>
                </c:pt>
                <c:pt idx="4">
                  <c:v>0.32700000000000001</c:v>
                </c:pt>
                <c:pt idx="5">
                  <c:v>2.06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0.17813299245834574</c:v>
                </c:pt>
                <c:pt idx="3">
                  <c:v>0.21442455324174367</c:v>
                </c:pt>
                <c:pt idx="4">
                  <c:v>0.33445746283714922</c:v>
                </c:pt>
                <c:pt idx="5">
                  <c:v>0.187036354194513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8.5517319788469048E-2</c:v>
                </c:pt>
                <c:pt idx="2">
                  <c:v>7.5099891325612428E-2</c:v>
                </c:pt>
                <c:pt idx="3">
                  <c:v>2.8439093690432658E-2</c:v>
                </c:pt>
                <c:pt idx="4">
                  <c:v>9.4755564569076856E-2</c:v>
                </c:pt>
                <c:pt idx="5">
                  <c:v>5.982980832951794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9.6280795771019693E-6</c:v>
                </c:pt>
                <c:pt idx="3">
                  <c:v>0.14542215544022347</c:v>
                </c:pt>
                <c:pt idx="4">
                  <c:v>1.1530188638661246E-2</c:v>
                </c:pt>
                <c:pt idx="5">
                  <c:v>8.4001767879292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9352859898126727E-2</c:v>
                </c:pt>
                <c:pt idx="3">
                  <c:v>4.056330411108755E-2</c:v>
                </c:pt>
                <c:pt idx="4">
                  <c:v>9.1037794309395265E-2</c:v>
                </c:pt>
                <c:pt idx="5">
                  <c:v>4.323960295438646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4.3670613155029493E-2</c:v>
                </c:pt>
                <c:pt idx="4">
                  <c:v>7.1197190239585539E-2</c:v>
                </c:pt>
                <c:pt idx="5">
                  <c:v>1.0948253169328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4">
                  <c:v>6.5936725080430317E-2</c:v>
                </c:pt>
                <c:pt idx="5">
                  <c:v>4.286374935855480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48079169897273E-2</c:v>
                </c:pt>
                <c:pt idx="2">
                  <c:v>4.2169192354775738E-2</c:v>
                </c:pt>
                <c:pt idx="3">
                  <c:v>0.31159330763478188</c:v>
                </c:pt>
                <c:pt idx="4">
                  <c:v>0.55257420013576153</c:v>
                </c:pt>
                <c:pt idx="5">
                  <c:v>5.809760309798891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5.3772782180523029E-3</c:v>
                </c:pt>
                <c:pt idx="3">
                  <c:v>2.7875828039684958E-3</c:v>
                </c:pt>
                <c:pt idx="4">
                  <c:v>9.6058502316238806E-3</c:v>
                </c:pt>
                <c:pt idx="5">
                  <c:v>4.74375127474008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6.7578200474080919E-4</c:v>
                </c:pt>
                <c:pt idx="1">
                  <c:v>1.5356715825150741E-2</c:v>
                </c:pt>
                <c:pt idx="2">
                  <c:v>5.0881055076403628E-2</c:v>
                </c:pt>
                <c:pt idx="3">
                  <c:v>7.5051430576854761E-2</c:v>
                </c:pt>
                <c:pt idx="4">
                  <c:v>0.16217521398090537</c:v>
                </c:pt>
                <c:pt idx="5">
                  <c:v>9.4330398042017677E-2</c:v>
                </c:pt>
                <c:pt idx="6">
                  <c:v>5.740195379662895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143497421567376E-6</c:v>
                </c:pt>
                <c:pt idx="1">
                  <c:v>5.3442530491752056E-5</c:v>
                </c:pt>
                <c:pt idx="2">
                  <c:v>5.5005286801598748E-3</c:v>
                </c:pt>
                <c:pt idx="3">
                  <c:v>7.5158187284765062E-3</c:v>
                </c:pt>
                <c:pt idx="4">
                  <c:v>2.307675505323167E-2</c:v>
                </c:pt>
                <c:pt idx="5">
                  <c:v>1.261114290518357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7818688402678055E-3</c:v>
                </c:pt>
                <c:pt idx="2">
                  <c:v>8.5620000335562586E-3</c:v>
                </c:pt>
                <c:pt idx="3">
                  <c:v>2.0211290371335969E-2</c:v>
                </c:pt>
                <c:pt idx="4">
                  <c:v>1.3280880018183403E-2</c:v>
                </c:pt>
                <c:pt idx="5">
                  <c:v>1.325488352508142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2378779956694593E-3</c:v>
                </c:pt>
                <c:pt idx="1">
                  <c:v>1.7792159282751345E-2</c:v>
                </c:pt>
                <c:pt idx="2">
                  <c:v>5.025610165723262E-2</c:v>
                </c:pt>
                <c:pt idx="3">
                  <c:v>0.13837627305977288</c:v>
                </c:pt>
                <c:pt idx="4">
                  <c:v>0.19912657578280174</c:v>
                </c:pt>
                <c:pt idx="5">
                  <c:v>8.6006951802275827E-2</c:v>
                </c:pt>
                <c:pt idx="6">
                  <c:v>7.265245092076305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614172168225475E-2</c:v>
                </c:pt>
                <c:pt idx="2">
                  <c:v>4.2149154401220919E-2</c:v>
                </c:pt>
                <c:pt idx="3">
                  <c:v>8.9580346546279041E-2</c:v>
                </c:pt>
                <c:pt idx="4">
                  <c:v>0.148245123290232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1258845351777839E-2</c:v>
                </c:pt>
                <c:pt idx="4">
                  <c:v>0.10589845028343978</c:v>
                </c:pt>
                <c:pt idx="5">
                  <c:v>5.18647696076496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5767466266459945E-2</c:v>
                </c:pt>
                <c:pt idx="3">
                  <c:v>4.8097971929081482E-2</c:v>
                </c:pt>
                <c:pt idx="4">
                  <c:v>8.7500095698107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6388912211825822E-3</c:v>
                </c:pt>
                <c:pt idx="2">
                  <c:v>2.0037953554815927E-5</c:v>
                </c:pt>
                <c:pt idx="3">
                  <c:v>9.2656143807643518E-2</c:v>
                </c:pt>
                <c:pt idx="4">
                  <c:v>0.2109305308639815</c:v>
                </c:pt>
                <c:pt idx="5">
                  <c:v>5.291112613722395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7204326300153365E-2</c:v>
                </c:pt>
                <c:pt idx="2">
                  <c:v>4.8559042899347739E-2</c:v>
                </c:pt>
                <c:pt idx="3">
                  <c:v>0.24618674300182217</c:v>
                </c:pt>
                <c:pt idx="4">
                  <c:v>0.60115421813792924</c:v>
                </c:pt>
                <c:pt idx="5">
                  <c:v>5.68941861852150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7737478640480985E-2</c:v>
                </c:pt>
                <c:pt idx="2">
                  <c:v>4.8556042232930072E-2</c:v>
                </c:pt>
                <c:pt idx="3">
                  <c:v>4.9426808655054784E-2</c:v>
                </c:pt>
                <c:pt idx="4">
                  <c:v>0.1813656053096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8031779956883459E-2</c:v>
                </c:pt>
                <c:pt idx="3">
                  <c:v>3.9118744057247593E-2</c:v>
                </c:pt>
                <c:pt idx="4">
                  <c:v>0.103283275249647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5.5054676525125794E-2</c:v>
                </c:pt>
                <c:pt idx="4">
                  <c:v>7.4612851658717824E-2</c:v>
                </c:pt>
                <c:pt idx="5">
                  <c:v>4.7201494210500729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435067702788914E-2</c:v>
                </c:pt>
                <c:pt idx="2">
                  <c:v>3.0006664176675462E-6</c:v>
                </c:pt>
                <c:pt idx="3">
                  <c:v>0.10258651376439401</c:v>
                </c:pt>
                <c:pt idx="4">
                  <c:v>0.24189248591996285</c:v>
                </c:pt>
                <c:pt idx="5">
                  <c:v>5.689371417027291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326372359036796E-2</c:v>
                </c:pt>
                <c:pt idx="2">
                  <c:v>7.2599537803512179E-2</c:v>
                </c:pt>
                <c:pt idx="3">
                  <c:v>0.29723458418362969</c:v>
                </c:pt>
                <c:pt idx="4">
                  <c:v>0.55923618607313497</c:v>
                </c:pt>
                <c:pt idx="5">
                  <c:v>5.048543530884941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4798148634116057E-3</c:v>
                </c:pt>
                <c:pt idx="2">
                  <c:v>7.2599537803512179E-2</c:v>
                </c:pt>
                <c:pt idx="3">
                  <c:v>9.908005973942835E-2</c:v>
                </c:pt>
                <c:pt idx="4">
                  <c:v>0.15379720625932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3.7465906228928772E-2</c:v>
                </c:pt>
                <c:pt idx="4">
                  <c:v>0.105436135671197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0815940222649742E-2</c:v>
                </c:pt>
                <c:pt idx="3">
                  <c:v>5.1972548894969002E-2</c:v>
                </c:pt>
                <c:pt idx="4">
                  <c:v>7.98482548892637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0617272975446421E-5</c:v>
                </c:pt>
                <c:pt idx="3">
                  <c:v>0.10871606932030353</c:v>
                </c:pt>
                <c:pt idx="4">
                  <c:v>0.22015458925335271</c:v>
                </c:pt>
                <c:pt idx="5">
                  <c:v>5.048543530884940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132416561429879E-3</c:v>
                </c:pt>
                <c:pt idx="1">
                  <c:v>9.1680698553222532E-3</c:v>
                </c:pt>
                <c:pt idx="2">
                  <c:v>9.5878988297154716E-2</c:v>
                </c:pt>
                <c:pt idx="3">
                  <c:v>0.12681280824640867</c:v>
                </c:pt>
                <c:pt idx="4">
                  <c:v>0.38312067811449413</c:v>
                </c:pt>
                <c:pt idx="5">
                  <c:v>0.382006213830477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9487915336276094E-3</c:v>
                </c:pt>
                <c:pt idx="1">
                  <c:v>7.0813147290244606E-3</c:v>
                </c:pt>
                <c:pt idx="2">
                  <c:v>5.9583497028407206E-2</c:v>
                </c:pt>
                <c:pt idx="3">
                  <c:v>4.4747968937113539E-2</c:v>
                </c:pt>
                <c:pt idx="4">
                  <c:v>0.2200930451692536</c:v>
                </c:pt>
                <c:pt idx="5">
                  <c:v>0.231664845584989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2.5338508667762823E-2</c:v>
                </c:pt>
                <c:pt idx="3">
                  <c:v>1.8231797180502881E-2</c:v>
                </c:pt>
                <c:pt idx="4">
                  <c:v>3.9551849488055152E-2</c:v>
                </c:pt>
                <c:pt idx="5">
                  <c:v>4.65519492121854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8.0315571529386721E-3</c:v>
                </c:pt>
                <c:pt idx="3">
                  <c:v>1.1385012787671881E-2</c:v>
                </c:pt>
                <c:pt idx="4">
                  <c:v>2.4798644373535281E-2</c:v>
                </c:pt>
                <c:pt idx="5">
                  <c:v>4.469824120521619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0644501225153785E-3</c:v>
                </c:pt>
                <c:pt idx="1">
                  <c:v>2.0867551262977921E-3</c:v>
                </c:pt>
                <c:pt idx="3">
                  <c:v>5.2448029341120361E-2</c:v>
                </c:pt>
                <c:pt idx="4">
                  <c:v>9.8677139083650098E-2</c:v>
                </c:pt>
                <c:pt idx="5">
                  <c:v>5.909117782808562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2469999999999999</c:v>
                </c:pt>
                <c:pt idx="3">
                  <c:v>7.8299999999999995E-2</c:v>
                </c:pt>
                <c:pt idx="4">
                  <c:v>0.35499999999999998</c:v>
                </c:pt>
                <c:pt idx="5">
                  <c:v>0.241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4975365598015995E-3</c:v>
                </c:pt>
                <c:pt idx="1">
                  <c:v>2.6598041864621942E-3</c:v>
                </c:pt>
                <c:pt idx="2">
                  <c:v>8.6510670533308409E-2</c:v>
                </c:pt>
                <c:pt idx="3">
                  <c:v>0.12974197681813057</c:v>
                </c:pt>
                <c:pt idx="4">
                  <c:v>0.431716533043907</c:v>
                </c:pt>
                <c:pt idx="5">
                  <c:v>0.3468734788583902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6379025521232942E-3</c:v>
                </c:pt>
                <c:pt idx="2">
                  <c:v>5.4935686849600637E-2</c:v>
                </c:pt>
                <c:pt idx="3">
                  <c:v>3.0131992612146163E-2</c:v>
                </c:pt>
                <c:pt idx="4">
                  <c:v>0.25750047951529925</c:v>
                </c:pt>
                <c:pt idx="5">
                  <c:v>0.179527410156338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6.7867160776327196E-6</c:v>
                </c:pt>
                <c:pt idx="3">
                  <c:v>2.6903631912361108E-2</c:v>
                </c:pt>
                <c:pt idx="4">
                  <c:v>4.799937502108327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015872551181919E-2</c:v>
                </c:pt>
                <c:pt idx="3">
                  <c:v>1.4920294777882427E-2</c:v>
                </c:pt>
                <c:pt idx="4">
                  <c:v>2.7240050179626343E-2</c:v>
                </c:pt>
                <c:pt idx="5">
                  <c:v>4.62098106513727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0151149182612673E-3</c:v>
                </c:pt>
                <c:pt idx="2">
                  <c:v>1.1416258171888585E-2</c:v>
                </c:pt>
                <c:pt idx="3">
                  <c:v>5.7786057515740862E-2</c:v>
                </c:pt>
                <c:pt idx="4">
                  <c:v>9.8976628327898164E-2</c:v>
                </c:pt>
                <c:pt idx="5">
                  <c:v>0.1211362580506793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0815776284355207E-4</c:v>
                </c:pt>
                <c:pt idx="2">
                  <c:v>8.3312816052570876E-2</c:v>
                </c:pt>
                <c:pt idx="3">
                  <c:v>0.13055996567023354</c:v>
                </c:pt>
                <c:pt idx="4">
                  <c:v>0.38648477014640992</c:v>
                </c:pt>
                <c:pt idx="5">
                  <c:v>0.3986729164574497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3.1739914264271918E-2</c:v>
                </c:pt>
                <c:pt idx="3">
                  <c:v>4.3716402377673984E-2</c:v>
                </c:pt>
                <c:pt idx="4">
                  <c:v>0.19798381364191134</c:v>
                </c:pt>
                <c:pt idx="5">
                  <c:v>0.240702350463839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4.0702129634083491E-2</c:v>
                </c:pt>
                <c:pt idx="3">
                  <c:v>3.0382577045142214E-2</c:v>
                </c:pt>
                <c:pt idx="4">
                  <c:v>7.0619147688679121E-2</c:v>
                </c:pt>
                <c:pt idx="5">
                  <c:v>6.492019061240952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9618211708881627E-2</c:v>
                </c:pt>
                <c:pt idx="4">
                  <c:v>5.420166632791263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5.0815776284355207E-4</c:v>
                </c:pt>
                <c:pt idx="2">
                  <c:v>1.0870772154215462E-2</c:v>
                </c:pt>
                <c:pt idx="3">
                  <c:v>1.6842774538535707E-2</c:v>
                </c:pt>
                <c:pt idx="4">
                  <c:v>6.3680142487906849E-2</c:v>
                </c:pt>
                <c:pt idx="5">
                  <c:v>9.305037538120070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797037320037875E-2</c:v>
                </c:pt>
                <c:pt idx="1">
                  <c:v>6.6281020707424962E-2</c:v>
                </c:pt>
                <c:pt idx="2">
                  <c:v>0.21222544325068682</c:v>
                </c:pt>
                <c:pt idx="3">
                  <c:v>0.4881235136927875</c:v>
                </c:pt>
                <c:pt idx="4">
                  <c:v>0.20707641511045416</c:v>
                </c:pt>
                <c:pt idx="5">
                  <c:v>9.496569918608645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0238617619303347E-6</c:v>
                </c:pt>
                <c:pt idx="1">
                  <c:v>5.2896619090354015E-2</c:v>
                </c:pt>
                <c:pt idx="2">
                  <c:v>8.3754436001402893E-2</c:v>
                </c:pt>
                <c:pt idx="3">
                  <c:v>0.14996591681868793</c:v>
                </c:pt>
                <c:pt idx="4">
                  <c:v>7.5151478632054028E-2</c:v>
                </c:pt>
                <c:pt idx="5">
                  <c:v>1.806205548743536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8618861954467054E-2</c:v>
                </c:pt>
                <c:pt idx="4">
                  <c:v>6.7762173818584862E-2</c:v>
                </c:pt>
                <c:pt idx="5">
                  <c:v>2.39505824768597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854849497948708E-4</c:v>
                </c:pt>
                <c:pt idx="2">
                  <c:v>7.5135480004825964E-2</c:v>
                </c:pt>
                <c:pt idx="3">
                  <c:v>3.5992839927888994E-2</c:v>
                </c:pt>
                <c:pt idx="4">
                  <c:v>1.752774248987401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6795013458275946E-2</c:v>
                </c:pt>
                <c:pt idx="1">
                  <c:v>1.2998916667276076E-2</c:v>
                </c:pt>
                <c:pt idx="2">
                  <c:v>5.3335527244457968E-2</c:v>
                </c:pt>
                <c:pt idx="3">
                  <c:v>0.21354589499174359</c:v>
                </c:pt>
                <c:pt idx="4">
                  <c:v>4.6635020169941248E-2</c:v>
                </c:pt>
                <c:pt idx="5">
                  <c:v>5.29530612217913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28781024293014E-3</c:v>
                </c:pt>
                <c:pt idx="1">
                  <c:v>3.3746952717115544E-2</c:v>
                </c:pt>
                <c:pt idx="2">
                  <c:v>0.1192322273957106</c:v>
                </c:pt>
                <c:pt idx="3">
                  <c:v>0.22555260391768006</c:v>
                </c:pt>
                <c:pt idx="4">
                  <c:v>0.42483219111845827</c:v>
                </c:pt>
                <c:pt idx="5">
                  <c:v>0.1921441325302992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30936481089645E-2</c:v>
                </c:pt>
                <c:pt idx="1">
                  <c:v>4.58853424980189E-2</c:v>
                </c:pt>
                <c:pt idx="2">
                  <c:v>0.19124469261645943</c:v>
                </c:pt>
                <c:pt idx="3">
                  <c:v>0.50343710515048379</c:v>
                </c:pt>
                <c:pt idx="4">
                  <c:v>0.23257033706164643</c:v>
                </c:pt>
                <c:pt idx="5">
                  <c:v>1.17315861923018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2843822305474016E-2</c:v>
                </c:pt>
                <c:pt idx="2">
                  <c:v>6.3974896538575313E-2</c:v>
                </c:pt>
                <c:pt idx="3">
                  <c:v>0.14093418959066523</c:v>
                </c:pt>
                <c:pt idx="4">
                  <c:v>7.10388434465586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3921297738606626E-2</c:v>
                </c:pt>
                <c:pt idx="4">
                  <c:v>8.2993007242709221E-2</c:v>
                </c:pt>
                <c:pt idx="5">
                  <c:v>3.603623746022635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8.3154878141065264E-4</c:v>
                </c:pt>
                <c:pt idx="2">
                  <c:v>7.4036116742946231E-2</c:v>
                </c:pt>
                <c:pt idx="3">
                  <c:v>4.9380779319311785E-2</c:v>
                </c:pt>
                <c:pt idx="4">
                  <c:v>1.46272243837767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130936481089645E-2</c:v>
                </c:pt>
                <c:pt idx="1">
                  <c:v>1.2209971411134227E-2</c:v>
                </c:pt>
                <c:pt idx="2">
                  <c:v>5.3233679334937875E-2</c:v>
                </c:pt>
                <c:pt idx="3">
                  <c:v>0.22920083850190018</c:v>
                </c:pt>
                <c:pt idx="4">
                  <c:v>6.3911261988601809E-2</c:v>
                </c:pt>
                <c:pt idx="5">
                  <c:v>8.12796244627917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262381599003958E-2</c:v>
                </c:pt>
                <c:pt idx="1">
                  <c:v>6.7529882543703984E-2</c:v>
                </c:pt>
                <c:pt idx="2">
                  <c:v>0.22654494927316576</c:v>
                </c:pt>
                <c:pt idx="3">
                  <c:v>0.47410950417657494</c:v>
                </c:pt>
                <c:pt idx="4">
                  <c:v>0.18871797876878638</c:v>
                </c:pt>
                <c:pt idx="5">
                  <c:v>1.383530363876503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10713691627244884</c:v>
                </c:pt>
                <c:pt idx="4">
                  <c:v>6.8946896404207661E-2</c:v>
                </c:pt>
                <c:pt idx="5">
                  <c:v>3.251600805340189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5333232533177838E-2</c:v>
                </c:pt>
                <c:pt idx="2">
                  <c:v>7.0107424510208904E-2</c:v>
                </c:pt>
                <c:pt idx="3">
                  <c:v>9.2244802582413174E-2</c:v>
                </c:pt>
                <c:pt idx="4">
                  <c:v>5.7574974938621626E-2</c:v>
                </c:pt>
                <c:pt idx="5">
                  <c:v>3.849721919379649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1897722085289953E-2</c:v>
                </c:pt>
                <c:pt idx="2">
                  <c:v>4.9725030197845625E-2</c:v>
                </c:pt>
                <c:pt idx="3">
                  <c:v>8.697601703860236E-2</c:v>
                </c:pt>
                <c:pt idx="4">
                  <c:v>2.3761273400165282E-2</c:v>
                </c:pt>
                <c:pt idx="5">
                  <c:v>6.68690868832230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9262381599003958E-2</c:v>
                </c:pt>
                <c:pt idx="1">
                  <c:v>2.9892792523618708E-4</c:v>
                </c:pt>
                <c:pt idx="2">
                  <c:v>0.10671249456511124</c:v>
                </c:pt>
                <c:pt idx="3">
                  <c:v>0.18775176828311049</c:v>
                </c:pt>
                <c:pt idx="4">
                  <c:v>3.8434834025791821E-2</c:v>
                </c:pt>
                <c:pt idx="5">
                  <c:v>4.707222572289747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163206576342793E-3</c:v>
                </c:pt>
                <c:pt idx="2">
                  <c:v>7.1630185775853478E-2</c:v>
                </c:pt>
                <c:pt idx="3">
                  <c:v>0.18213042192281223</c:v>
                </c:pt>
                <c:pt idx="4">
                  <c:v>0.58337040901939197</c:v>
                </c:pt>
                <c:pt idx="5">
                  <c:v>0.15683276160589696</c:v>
                </c:pt>
                <c:pt idx="6">
                  <c:v>3.847281902812153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8.7599463244546197E-5</c:v>
                </c:pt>
                <c:pt idx="2">
                  <c:v>2.3159885139278184E-2</c:v>
                </c:pt>
                <c:pt idx="3">
                  <c:v>9.079313517481756E-2</c:v>
                </c:pt>
                <c:pt idx="4">
                  <c:v>0.24124098885699305</c:v>
                </c:pt>
                <c:pt idx="5">
                  <c:v>7.5033477263298107E-2</c:v>
                </c:pt>
                <c:pt idx="6">
                  <c:v>3.703586436231475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4497032775931784E-4</c:v>
                </c:pt>
                <c:pt idx="2">
                  <c:v>3.5505788445723573E-2</c:v>
                </c:pt>
                <c:pt idx="3">
                  <c:v>4.8514440208670587E-2</c:v>
                </c:pt>
                <c:pt idx="4">
                  <c:v>0.14895993286776413</c:v>
                </c:pt>
                <c:pt idx="5">
                  <c:v>8.140464273285479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3927200276801803E-3</c:v>
                </c:pt>
                <c:pt idx="3">
                  <c:v>2.4115749724647358E-2</c:v>
                </c:pt>
                <c:pt idx="4">
                  <c:v>5.2993314390311158E-2</c:v>
                </c:pt>
                <c:pt idx="5">
                  <c:v>6.364195018978527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1.057179216317153E-2</c:v>
                </c:pt>
                <c:pt idx="3">
                  <c:v>1.8707096814676735E-2</c:v>
                </c:pt>
                <c:pt idx="4">
                  <c:v>0.1401761729043236</c:v>
                </c:pt>
                <c:pt idx="5">
                  <c:v>7.3022400567415519E-2</c:v>
                </c:pt>
                <c:pt idx="6">
                  <c:v>1.436954665806782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1035385751206645E-3</c:v>
                </c:pt>
                <c:pt idx="2">
                  <c:v>9.2177410380318181E-2</c:v>
                </c:pt>
                <c:pt idx="3">
                  <c:v>0.14424491130230155</c:v>
                </c:pt>
                <c:pt idx="4">
                  <c:v>0.56687151041155004</c:v>
                </c:pt>
                <c:pt idx="5">
                  <c:v>0.19372224476650263</c:v>
                </c:pt>
                <c:pt idx="6">
                  <c:v>7.2957935325007519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8.5349158368287267E-3</c:v>
                </c:pt>
                <c:pt idx="3">
                  <c:v>2.0579282678446667E-3</c:v>
                </c:pt>
                <c:pt idx="4">
                  <c:v>9.3310180115548213E-3</c:v>
                </c:pt>
                <c:pt idx="5">
                  <c:v>6.357870587301926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6729726484407787E-6</c:v>
                </c:pt>
                <c:pt idx="1">
                  <c:v>9.7136516272242276E-3</c:v>
                </c:pt>
                <c:pt idx="2">
                  <c:v>4.2992807337090502E-2</c:v>
                </c:pt>
                <c:pt idx="3">
                  <c:v>5.7954929570050925E-2</c:v>
                </c:pt>
                <c:pt idx="4">
                  <c:v>0.15777279699652327</c:v>
                </c:pt>
                <c:pt idx="5">
                  <c:v>8.25571628563984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1822314328258191E-6</c:v>
                </c:pt>
                <c:pt idx="1">
                  <c:v>4.5743156296532397E-6</c:v>
                </c:pt>
                <c:pt idx="2">
                  <c:v>5.5932523229095844E-3</c:v>
                </c:pt>
                <c:pt idx="3">
                  <c:v>7.7629831741438445E-3</c:v>
                </c:pt>
                <c:pt idx="4">
                  <c:v>2.4335210428163334E-2</c:v>
                </c:pt>
                <c:pt idx="5">
                  <c:v>1.0329210296098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3709601785048481E-3</c:v>
                </c:pt>
                <c:pt idx="2">
                  <c:v>6.4904626465531858E-3</c:v>
                </c:pt>
                <c:pt idx="3">
                  <c:v>6.6068575724320573E-3</c:v>
                </c:pt>
                <c:pt idx="4">
                  <c:v>2.42430526150492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279955038848874E-3</c:v>
                </c:pt>
                <c:pt idx="1">
                  <c:v>2.1657766595756814E-2</c:v>
                </c:pt>
                <c:pt idx="2">
                  <c:v>5.5620789252328599E-2</c:v>
                </c:pt>
                <c:pt idx="3">
                  <c:v>0.15116990533320857</c:v>
                </c:pt>
                <c:pt idx="4">
                  <c:v>0.20915011306716758</c:v>
                </c:pt>
                <c:pt idx="5">
                  <c:v>0.1021961780569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3007935502443258E-2</c:v>
                </c:pt>
                <c:pt idx="3">
                  <c:v>5.2165348389913241E-2</c:v>
                </c:pt>
                <c:pt idx="4">
                  <c:v>0.20214649925508837</c:v>
                </c:pt>
                <c:pt idx="5">
                  <c:v>0.10372441251558287</c:v>
                </c:pt>
                <c:pt idx="6">
                  <c:v>4.525976182421893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0785858632611054E-5</c:v>
                </c:pt>
                <c:pt idx="2">
                  <c:v>3.7643461722091778E-2</c:v>
                </c:pt>
                <c:pt idx="3">
                  <c:v>5.2246089232947733E-2</c:v>
                </c:pt>
                <c:pt idx="4">
                  <c:v>0.16377976700594907</c:v>
                </c:pt>
                <c:pt idx="5">
                  <c:v>6.951719857300417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havro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3.033674906731739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1.1526013155783148E-2</c:v>
                </c:pt>
                <c:pt idx="3">
                  <c:v>3.9833473679440595E-2</c:v>
                </c:pt>
                <c:pt idx="4">
                  <c:v>0.17060849508319506</c:v>
                </c:pt>
                <c:pt idx="5">
                  <c:v>8.3046112393619323E-2</c:v>
                </c:pt>
                <c:pt idx="6">
                  <c:v>2.769817350078858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53742015450741E-3</c:v>
                </c:pt>
                <c:pt idx="2">
                  <c:v>0.10056376439324646</c:v>
                </c:pt>
                <c:pt idx="3">
                  <c:v>0.20390060448269487</c:v>
                </c:pt>
                <c:pt idx="4">
                  <c:v>0.55943323609585205</c:v>
                </c:pt>
                <c:pt idx="5">
                  <c:v>0.1038446609746087</c:v>
                </c:pt>
                <c:pt idx="6">
                  <c:v>2.87023598520529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5815978632429484E-2</c:v>
                </c:pt>
                <c:pt idx="3">
                  <c:v>7.6385241605657572E-2</c:v>
                </c:pt>
                <c:pt idx="4">
                  <c:v>0.19863748728436206</c:v>
                </c:pt>
                <c:pt idx="5">
                  <c:v>3.435974670500273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3709339543574292E-2</c:v>
                </c:pt>
                <c:pt idx="3">
                  <c:v>9.3925668571629539E-2</c:v>
                </c:pt>
                <c:pt idx="4">
                  <c:v>0.18685064975207327</c:v>
                </c:pt>
                <c:pt idx="5">
                  <c:v>6.00227565615086E-2</c:v>
                </c:pt>
                <c:pt idx="6">
                  <c:v>2.870235985205291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6727910802191755E-2</c:v>
                </c:pt>
                <c:pt idx="4">
                  <c:v>6.945060947337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5553742015450741E-3</c:v>
                </c:pt>
                <c:pt idx="2">
                  <c:v>1.0384462172426975E-3</c:v>
                </c:pt>
                <c:pt idx="3">
                  <c:v>6.8617835032159964E-3</c:v>
                </c:pt>
                <c:pt idx="4">
                  <c:v>0.1044944895860412</c:v>
                </c:pt>
                <c:pt idx="5">
                  <c:v>4.038592974259980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3856141960207543E-4</c:v>
                </c:pt>
                <c:pt idx="1">
                  <c:v>1.5620317363869789E-3</c:v>
                </c:pt>
                <c:pt idx="2">
                  <c:v>5.554790142341344E-3</c:v>
                </c:pt>
                <c:pt idx="3">
                  <c:v>3.366878548745144E-2</c:v>
                </c:pt>
                <c:pt idx="4">
                  <c:v>0.88843076945420352</c:v>
                </c:pt>
                <c:pt idx="5">
                  <c:v>7.02450617600147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9993966973793626E-5</c:v>
                </c:pt>
                <c:pt idx="4">
                  <c:v>0.32425813305511542</c:v>
                </c:pt>
                <c:pt idx="5">
                  <c:v>1.21289536781735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9.3137540633138035E-4</c:v>
                </c:pt>
                <c:pt idx="4">
                  <c:v>0.16433112599937943</c:v>
                </c:pt>
                <c:pt idx="5">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5.185674526282818E-4</c:v>
                </c:pt>
                <c:pt idx="1">
                  <c:v>1.5620317363869789E-3</c:v>
                </c:pt>
                <c:pt idx="2">
                  <c:v>5.554790142341344E-3</c:v>
                </c:pt>
                <c:pt idx="3">
                  <c:v>3.2737410081120064E-2</c:v>
                </c:pt>
                <c:pt idx="4">
                  <c:v>0.21684337898925027</c:v>
                </c:pt>
                <c:pt idx="5">
                  <c:v>4.105279054938416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450492937243368E-3</c:v>
                </c:pt>
                <c:pt idx="1">
                  <c:v>2.2320532191512647E-3</c:v>
                </c:pt>
                <c:pt idx="2">
                  <c:v>5.5221708815645486E-3</c:v>
                </c:pt>
                <c:pt idx="3">
                  <c:v>3.2054568203037939E-2</c:v>
                </c:pt>
                <c:pt idx="4">
                  <c:v>0.84684811308442187</c:v>
                </c:pt>
                <c:pt idx="5">
                  <c:v>0.11209804531810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2784618550905057E-4</c:v>
                </c:pt>
                <c:pt idx="4">
                  <c:v>0.20313096092644092</c:v>
                </c:pt>
                <c:pt idx="5">
                  <c:v>1.655333585992952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7623447649261598</c:v>
                </c:pt>
                <c:pt idx="5">
                  <c:v>2.06328056763078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1172031082152861E-3</c:v>
                </c:pt>
                <c:pt idx="1">
                  <c:v>2.2320532191512647E-3</c:v>
                </c:pt>
                <c:pt idx="2">
                  <c:v>5.5221708815645486E-3</c:v>
                </c:pt>
                <c:pt idx="3">
                  <c:v>3.2054568203037939E-2</c:v>
                </c:pt>
                <c:pt idx="4">
                  <c:v>0.30120106393124985</c:v>
                </c:pt>
                <c:pt idx="5">
                  <c:v>7.49119037818627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4410000000000001</c:v>
                </c:pt>
                <c:pt idx="3">
                  <c:v>0.16689999999999999</c:v>
                </c:pt>
                <c:pt idx="4">
                  <c:v>0.37459999999999999</c:v>
                </c:pt>
                <c:pt idx="5">
                  <c:v>0.214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7239854391077266E-2</c:v>
                </c:pt>
                <c:pt idx="4">
                  <c:v>0.86683859195054502</c:v>
                </c:pt>
                <c:pt idx="5">
                  <c:v>8.535866903762184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2677053560622282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26279747884294907</c:v>
                </c:pt>
                <c:pt idx="5">
                  <c:v>2.31953896714489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5900475742707917</c:v>
                </c:pt>
                <c:pt idx="5">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7239854391077266E-2</c:v>
                </c:pt>
                <c:pt idx="4">
                  <c:v>0.17733099961828863</c:v>
                </c:pt>
                <c:pt idx="5">
                  <c:v>3.84347971809218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268</c:v>
                </c:pt>
                <c:pt idx="4">
                  <c:v>0.40820000000000001</c:v>
                </c:pt>
                <c:pt idx="5">
                  <c:v>0.465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7115859415532545E-3</c:v>
                </c:pt>
                <c:pt idx="1">
                  <c:v>3.3487926822339267E-2</c:v>
                </c:pt>
                <c:pt idx="2">
                  <c:v>0.11542314622600523</c:v>
                </c:pt>
                <c:pt idx="3">
                  <c:v>0.25306267888657741</c:v>
                </c:pt>
                <c:pt idx="4">
                  <c:v>0.39242675220379619</c:v>
                </c:pt>
                <c:pt idx="5">
                  <c:v>0.20010811840969855</c:v>
                </c:pt>
                <c:pt idx="6">
                  <c:v>7.797915100301700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4147839245693171E-3</c:v>
                </c:pt>
                <c:pt idx="4">
                  <c:v>7.7763110176387465E-3</c:v>
                </c:pt>
                <c:pt idx="5">
                  <c:v>8.858402243312617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6.4687839666768626E-4</c:v>
                </c:pt>
                <c:pt idx="1">
                  <c:v>1.4699899732998773E-2</c:v>
                </c:pt>
                <c:pt idx="2">
                  <c:v>4.870484135073716E-2</c:v>
                </c:pt>
                <c:pt idx="3">
                  <c:v>7.1841435164868905E-2</c:v>
                </c:pt>
                <c:pt idx="4">
                  <c:v>0.15555530438464388</c:v>
                </c:pt>
                <c:pt idx="5">
                  <c:v>9.2802072983132033E-2</c:v>
                </c:pt>
                <c:pt idx="6">
                  <c:v>5.494683725974274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009048121623818E-6</c:v>
                </c:pt>
                <c:pt idx="1">
                  <c:v>5.1156760901953684E-5</c:v>
                </c:pt>
                <c:pt idx="2">
                  <c:v>5.2652677172295419E-3</c:v>
                </c:pt>
                <c:pt idx="3">
                  <c:v>7.1943625823338749E-3</c:v>
                </c:pt>
                <c:pt idx="4">
                  <c:v>2.2089748179744576E-2</c:v>
                </c:pt>
                <c:pt idx="5">
                  <c:v>1.237918718693102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1.9542554366486414E-2</c:v>
                </c:pt>
                <c:pt idx="5">
                  <c:v>4.082138688441957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0616984967639441E-3</c:v>
                </c:pt>
                <c:pt idx="1">
                  <c:v>1.8736870328438536E-2</c:v>
                </c:pt>
                <c:pt idx="2">
                  <c:v>6.1453037158038536E-2</c:v>
                </c:pt>
                <c:pt idx="3">
                  <c:v>0.15206954284831886</c:v>
                </c:pt>
                <c:pt idx="4">
                  <c:v>0.2070053886217689</c:v>
                </c:pt>
                <c:pt idx="5">
                  <c:v>9.3127585776118876E-2</c:v>
                </c:pt>
                <c:pt idx="6">
                  <c:v>2.303231374327426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018</c:v>
                </c:pt>
                <c:pt idx="4">
                  <c:v>0.38440000000000002</c:v>
                </c:pt>
                <c:pt idx="5">
                  <c:v>0.5138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0810000882490153E-3</c:v>
                </c:pt>
                <c:pt idx="1">
                  <c:v>3.2119265828930418E-2</c:v>
                </c:pt>
                <c:pt idx="2">
                  <c:v>0.1134814049493723</c:v>
                </c:pt>
                <c:pt idx="3">
                  <c:v>0.23589599597480859</c:v>
                </c:pt>
                <c:pt idx="4">
                  <c:v>0.40814205728880371</c:v>
                </c:pt>
                <c:pt idx="5">
                  <c:v>0.20556364616861456</c:v>
                </c:pt>
                <c:pt idx="6">
                  <c:v>7.166297012213648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3569573067529505E-3</c:v>
                </c:pt>
                <c:pt idx="4">
                  <c:v>8.8979448050836435E-3</c:v>
                </c:pt>
                <c:pt idx="5">
                  <c:v>1.18917799932748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4958174110288519E-6</c:v>
                </c:pt>
                <c:pt idx="1">
                  <c:v>9.2451416695232998E-3</c:v>
                </c:pt>
                <c:pt idx="2">
                  <c:v>4.0919173330030652E-2</c:v>
                </c:pt>
                <c:pt idx="3">
                  <c:v>5.5159640769974413E-2</c:v>
                </c:pt>
                <c:pt idx="4">
                  <c:v>0.15016308138349577</c:v>
                </c:pt>
                <c:pt idx="5">
                  <c:v>8.0742727458019248E-2</c:v>
                </c:pt>
                <c:pt idx="6">
                  <c:v>6.4005628720702489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9805135674046311E-6</c:v>
                </c:pt>
                <c:pt idx="1">
                  <c:v>4.3536867143488152E-6</c:v>
                </c:pt>
                <c:pt idx="2">
                  <c:v>5.3234779363264184E-3</c:v>
                </c:pt>
                <c:pt idx="3">
                  <c:v>7.3885580806643007E-3</c:v>
                </c:pt>
                <c:pt idx="4">
                  <c:v>2.316147177190065E-2</c:v>
                </c:pt>
                <c:pt idx="5">
                  <c:v>9.831010642186118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2566037556505814E-3</c:v>
                </c:pt>
                <c:pt idx="2">
                  <c:v>6.1774139088906594E-3</c:v>
                </c:pt>
                <c:pt idx="3">
                  <c:v>6.2881948613748833E-3</c:v>
                </c:pt>
                <c:pt idx="4">
                  <c:v>2.3073758924982701E-2</c:v>
                </c:pt>
                <c:pt idx="5">
                  <c:v>1.499002216502655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0735237572705821E-3</c:v>
                </c:pt>
                <c:pt idx="1">
                  <c:v>2.0613166717042185E-2</c:v>
                </c:pt>
                <c:pt idx="2">
                  <c:v>6.1061339774124555E-2</c:v>
                </c:pt>
                <c:pt idx="3">
                  <c:v>0.16470264495604203</c:v>
                </c:pt>
                <c:pt idx="4">
                  <c:v>0.20284580040334099</c:v>
                </c:pt>
                <c:pt idx="5">
                  <c:v>0.11044703543659924</c:v>
                </c:pt>
                <c:pt idx="6">
                  <c:v>6.526240725006622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6189999999999999</c:v>
                </c:pt>
                <c:pt idx="4">
                  <c:v>0.37309999999999999</c:v>
                </c:pt>
                <c:pt idx="5">
                  <c:v>0.465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1512631400680654E-3</c:v>
                </c:pt>
                <c:pt idx="1">
                  <c:v>2.9433262055105915E-2</c:v>
                </c:pt>
                <c:pt idx="2">
                  <c:v>0.12653686231031827</c:v>
                </c:pt>
                <c:pt idx="3">
                  <c:v>0.25485941787635102</c:v>
                </c:pt>
                <c:pt idx="4">
                  <c:v>0.39923577778447261</c:v>
                </c:pt>
                <c:pt idx="5">
                  <c:v>0.17852577558717275</c:v>
                </c:pt>
                <c:pt idx="6">
                  <c:v>4.257641246511296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7447779611227729E-3</c:v>
                </c:pt>
                <c:pt idx="1">
                  <c:v>2.7760245056699179E-2</c:v>
                </c:pt>
                <c:pt idx="2">
                  <c:v>0.11934437643587233</c:v>
                </c:pt>
                <c:pt idx="3">
                  <c:v>0.26734464696552929</c:v>
                </c:pt>
                <c:pt idx="4">
                  <c:v>0.37912908429641573</c:v>
                </c:pt>
                <c:pt idx="5">
                  <c:v>0.19566123676135391</c:v>
                </c:pt>
                <c:pt idx="6">
                  <c:v>4.015632523006747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4.761945193792437E-3</c:v>
                </c:pt>
                <c:pt idx="4">
                  <c:v>1.0976288069047125E-2</c:v>
                </c:pt>
                <c:pt idx="5">
                  <c:v>1.368072688352527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2456834254917721E-2</c:v>
                </c:pt>
                <c:pt idx="2">
                  <c:v>3.7516413536784608E-2</c:v>
                </c:pt>
                <c:pt idx="3">
                  <c:v>5.231895468278628E-2</c:v>
                </c:pt>
                <c:pt idx="4">
                  <c:v>0.13016017188470269</c:v>
                </c:pt>
                <c:pt idx="5">
                  <c:v>8.7693106883492272E-2</c:v>
                </c:pt>
                <c:pt idx="6">
                  <c:v>3.971468958231072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6.3369476628261506E-3</c:v>
                </c:pt>
                <c:pt idx="3">
                  <c:v>1.0565075607154282E-2</c:v>
                </c:pt>
                <c:pt idx="4">
                  <c:v>2.7474156361364386E-2</c:v>
                </c:pt>
                <c:pt idx="5">
                  <c:v>4.752401303580311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6953775476106574E-2</c:v>
                </c:pt>
                <c:pt idx="5">
                  <c:v>4.382154823223701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6.7447779611227729E-3</c:v>
                </c:pt>
                <c:pt idx="1">
                  <c:v>1.5303410801781457E-2</c:v>
                </c:pt>
                <c:pt idx="2">
                  <c:v>7.5491015236261561E-2</c:v>
                </c:pt>
                <c:pt idx="3">
                  <c:v>0.17274489600568976</c:v>
                </c:pt>
                <c:pt idx="4">
                  <c:v>0.21051846798130153</c:v>
                </c:pt>
                <c:pt idx="5">
                  <c:v>8.9430008040754655E-2</c:v>
                </c:pt>
                <c:pt idx="6">
                  <c:v>4.4163564775674934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5620000000000001</c:v>
                </c:pt>
                <c:pt idx="4">
                  <c:v>0.50060000000000004</c:v>
                </c:pt>
                <c:pt idx="5">
                  <c:v>0.3432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9168034978318356E-3</c:v>
                </c:pt>
                <c:pt idx="1">
                  <c:v>3.4984186478661645E-2</c:v>
                </c:pt>
                <c:pt idx="2">
                  <c:v>0.12057696366540469</c:v>
                </c:pt>
                <c:pt idx="3">
                  <c:v>0.24394239554040859</c:v>
                </c:pt>
                <c:pt idx="4">
                  <c:v>0.40726527506674604</c:v>
                </c:pt>
                <c:pt idx="5">
                  <c:v>0.1876677037620601</c:v>
                </c:pt>
                <c:pt idx="6">
                  <c:v>6.4667198888705268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5226805068273958E-3</c:v>
                </c:pt>
                <c:pt idx="4">
                  <c:v>8.0855764832636779E-3</c:v>
                </c:pt>
                <c:pt idx="5">
                  <c:v>5.544473851815854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6.7578200474080919E-4</c:v>
                </c:pt>
                <c:pt idx="1">
                  <c:v>1.5356715825150741E-2</c:v>
                </c:pt>
                <c:pt idx="2">
                  <c:v>5.0881055076403628E-2</c:v>
                </c:pt>
                <c:pt idx="3">
                  <c:v>7.5051430576854761E-2</c:v>
                </c:pt>
                <c:pt idx="4">
                  <c:v>0.16217521398090537</c:v>
                </c:pt>
                <c:pt idx="5">
                  <c:v>9.4330398042017677E-2</c:v>
                </c:pt>
                <c:pt idx="6">
                  <c:v>5.740195379662895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143497421567376E-6</c:v>
                </c:pt>
                <c:pt idx="1">
                  <c:v>5.3442530491752056E-5</c:v>
                </c:pt>
                <c:pt idx="2">
                  <c:v>5.5005286801598748E-3</c:v>
                </c:pt>
                <c:pt idx="3">
                  <c:v>7.5158187284765062E-3</c:v>
                </c:pt>
                <c:pt idx="4">
                  <c:v>2.307675505323167E-2</c:v>
                </c:pt>
                <c:pt idx="5">
                  <c:v>1.261114290518357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7818688402678055E-3</c:v>
                </c:pt>
                <c:pt idx="2">
                  <c:v>8.5620000335562586E-3</c:v>
                </c:pt>
                <c:pt idx="3">
                  <c:v>2.0211290371335969E-2</c:v>
                </c:pt>
                <c:pt idx="4">
                  <c:v>1.3280880018183403E-2</c:v>
                </c:pt>
                <c:pt idx="5">
                  <c:v>1.325488352508142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2378779956694593E-3</c:v>
                </c:pt>
                <c:pt idx="1">
                  <c:v>1.7792159282751345E-2</c:v>
                </c:pt>
                <c:pt idx="2">
                  <c:v>5.5633379875284925E-2</c:v>
                </c:pt>
                <c:pt idx="3">
                  <c:v>0.13864117535691398</c:v>
                </c:pt>
                <c:pt idx="4">
                  <c:v>0.20064684953116196</c:v>
                </c:pt>
                <c:pt idx="5">
                  <c:v>8.5206229225200047E-2</c:v>
                </c:pt>
                <c:pt idx="6">
                  <c:v>7.265245092076305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27</c:v>
                </c:pt>
                <c:pt idx="4">
                  <c:v>0.4703</c:v>
                </c:pt>
                <c:pt idx="5">
                  <c:v>0.402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28781024293014E-3</c:v>
                </c:pt>
                <c:pt idx="1">
                  <c:v>3.3746952717115544E-2</c:v>
                </c:pt>
                <c:pt idx="2">
                  <c:v>0.1192322273957106</c:v>
                </c:pt>
                <c:pt idx="3">
                  <c:v>0.22555260391768006</c:v>
                </c:pt>
                <c:pt idx="4">
                  <c:v>0.42483219111845827</c:v>
                </c:pt>
                <c:pt idx="5">
                  <c:v>0.1921441325302992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476399280447082E-3</c:v>
                </c:pt>
                <c:pt idx="4">
                  <c:v>9.1668879613909376E-3</c:v>
                </c:pt>
                <c:pt idx="5">
                  <c:v>7.849336338458905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6729726484407787E-6</c:v>
                </c:pt>
                <c:pt idx="1">
                  <c:v>9.7136516272242276E-3</c:v>
                </c:pt>
                <c:pt idx="2">
                  <c:v>4.2992807337090502E-2</c:v>
                </c:pt>
                <c:pt idx="3">
                  <c:v>5.7954929570050925E-2</c:v>
                </c:pt>
                <c:pt idx="4">
                  <c:v>0.15777279699652327</c:v>
                </c:pt>
                <c:pt idx="5">
                  <c:v>8.25571628563984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1822314328258191E-6</c:v>
                </c:pt>
                <c:pt idx="1">
                  <c:v>4.5743156296532397E-6</c:v>
                </c:pt>
                <c:pt idx="2">
                  <c:v>5.5932523229095844E-3</c:v>
                </c:pt>
                <c:pt idx="3">
                  <c:v>7.7629831741438445E-3</c:v>
                </c:pt>
                <c:pt idx="4">
                  <c:v>2.4335210428163334E-2</c:v>
                </c:pt>
                <c:pt idx="5">
                  <c:v>1.0329210296098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3709601785048481E-3</c:v>
                </c:pt>
                <c:pt idx="2">
                  <c:v>6.4904626465531858E-3</c:v>
                </c:pt>
                <c:pt idx="3">
                  <c:v>6.6068575724320573E-3</c:v>
                </c:pt>
                <c:pt idx="4">
                  <c:v>2.42430526150492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279955038848874E-3</c:v>
                </c:pt>
                <c:pt idx="1">
                  <c:v>2.1657766595756814E-2</c:v>
                </c:pt>
                <c:pt idx="2">
                  <c:v>6.4155705089157328E-2</c:v>
                </c:pt>
                <c:pt idx="3">
                  <c:v>0.15075143432060614</c:v>
                </c:pt>
                <c:pt idx="4">
                  <c:v>0.20931424311733146</c:v>
                </c:pt>
                <c:pt idx="5">
                  <c:v>0.1007047123058320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20680000000000001</c:v>
                </c:pt>
                <c:pt idx="4">
                  <c:v>0.47670000000000001</c:v>
                </c:pt>
                <c:pt idx="5">
                  <c:v>0.316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1512631400680654E-3</c:v>
                </c:pt>
                <c:pt idx="1">
                  <c:v>2.9433262055105915E-2</c:v>
                </c:pt>
                <c:pt idx="2">
                  <c:v>0.12653686231031827</c:v>
                </c:pt>
                <c:pt idx="3">
                  <c:v>0.25485941787635102</c:v>
                </c:pt>
                <c:pt idx="4">
                  <c:v>0.39923577778447261</c:v>
                </c:pt>
                <c:pt idx="5">
                  <c:v>0.17852577558717275</c:v>
                </c:pt>
                <c:pt idx="6">
                  <c:v>4.257641246511296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6.6708548942498056E-3</c:v>
                </c:pt>
                <c:pt idx="3">
                  <c:v>4.5590375294608503E-3</c:v>
                </c:pt>
                <c:pt idx="4">
                  <c:v>1.0236278177590988E-2</c:v>
                </c:pt>
                <c:pt idx="5">
                  <c:v>5.857737662009135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3207565936581438E-2</c:v>
                </c:pt>
                <c:pt idx="2">
                  <c:v>3.9777402135339882E-2</c:v>
                </c:pt>
                <c:pt idx="3">
                  <c:v>5.5472042861381091E-2</c:v>
                </c:pt>
                <c:pt idx="4">
                  <c:v>0.13688010445273205</c:v>
                </c:pt>
                <c:pt idx="5">
                  <c:v>8.9466282221879911E-2</c:v>
                </c:pt>
                <c:pt idx="6">
                  <c:v>4.210816091593710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6.7188542755476236E-3</c:v>
                </c:pt>
                <c:pt idx="3">
                  <c:v>1.1201797330760105E-2</c:v>
                </c:pt>
                <c:pt idx="4">
                  <c:v>2.9129931752235976E-2</c:v>
                </c:pt>
                <c:pt idx="5">
                  <c:v>5.038812613995652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5572658981416405E-2</c:v>
                </c:pt>
                <c:pt idx="4">
                  <c:v>1.6457030227453522E-2</c:v>
                </c:pt>
                <c:pt idx="5">
                  <c:v>7.761291012633605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1512631400680654E-3</c:v>
                </c:pt>
                <c:pt idx="1">
                  <c:v>1.6225696118524476E-2</c:v>
                </c:pt>
                <c:pt idx="2">
                  <c:v>7.336975100518095E-2</c:v>
                </c:pt>
                <c:pt idx="3">
                  <c:v>0.15805388117333258</c:v>
                </c:pt>
                <c:pt idx="4">
                  <c:v>0.20653243317446013</c:v>
                </c:pt>
                <c:pt idx="5">
                  <c:v>8.19217453406208E-2</c:v>
                </c:pt>
                <c:pt idx="6">
                  <c:v>4.682515491758582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5.0489316825076524E-3</c:v>
                </c:pt>
                <c:pt idx="4">
                  <c:v>1.1637792190549589E-2</c:v>
                </c:pt>
                <c:pt idx="5">
                  <c:v>7.724262589574621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3207565936581438E-2</c:v>
                </c:pt>
                <c:pt idx="2">
                  <c:v>3.9777402135339882E-2</c:v>
                </c:pt>
                <c:pt idx="3">
                  <c:v>5.5472042861381091E-2</c:v>
                </c:pt>
                <c:pt idx="4">
                  <c:v>0.13688010445273205</c:v>
                </c:pt>
                <c:pt idx="5">
                  <c:v>8.9466282221879911E-2</c:v>
                </c:pt>
                <c:pt idx="6">
                  <c:v>4.210816091593710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6.7188542755476236E-3</c:v>
                </c:pt>
                <c:pt idx="3">
                  <c:v>1.1201797330760105E-2</c:v>
                </c:pt>
                <c:pt idx="4">
                  <c:v>2.9129931752235976E-2</c:v>
                </c:pt>
                <c:pt idx="5">
                  <c:v>5.038812613995652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5572658981416405E-2</c:v>
                </c:pt>
                <c:pt idx="4">
                  <c:v>1.6457030227453522E-2</c:v>
                </c:pt>
                <c:pt idx="5">
                  <c:v>7.761291012633605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1512631400680654E-3</c:v>
                </c:pt>
                <c:pt idx="1">
                  <c:v>1.6225696118524476E-2</c:v>
                </c:pt>
                <c:pt idx="2">
                  <c:v>8.0040605899430753E-2</c:v>
                </c:pt>
                <c:pt idx="3">
                  <c:v>0.15756398702028579</c:v>
                </c:pt>
                <c:pt idx="4">
                  <c:v>0.20513091916150153</c:v>
                </c:pt>
                <c:pt idx="5">
                  <c:v>8.0055220413055309E-2</c:v>
                </c:pt>
                <c:pt idx="6">
                  <c:v>4.682515491758582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588493934911453</c:v>
                </c:pt>
                <c:pt idx="4">
                  <c:v>2.2390625098833761E-2</c:v>
                </c:pt>
                <c:pt idx="5">
                  <c:v>0.48752033758852159</c:v>
                </c:pt>
                <c:pt idx="6">
                  <c:v>3.995123402850997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8.823766639674804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8560673316729203</c:v>
                </c:pt>
                <c:pt idx="5">
                  <c:v>0.101435769124919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6318977189908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7.8626975528057023E-3</c:v>
                </c:pt>
                <c:pt idx="5">
                  <c:v>5.97039826262451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2.7820618182252944E-4</c:v>
                </c:pt>
                <c:pt idx="4">
                  <c:v>1.4527927546028059E-2</c:v>
                </c:pt>
                <c:pt idx="5">
                  <c:v>7.4953147541524254E-2</c:v>
                </c:pt>
                <c:pt idx="6">
                  <c:v>3.995123402850997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018187685461738</c:v>
                </c:pt>
                <c:pt idx="4">
                  <c:v>1.6386580516175052E-2</c:v>
                </c:pt>
                <c:pt idx="5">
                  <c:v>0.49161168223958929</c:v>
                </c:pt>
                <c:pt idx="6">
                  <c:v>1.181986038961826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0.1000311054065661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7976649108206537</c:v>
                </c:pt>
                <c:pt idx="5">
                  <c:v>0.113533278175020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4.90422106675530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1538577255202636E-4</c:v>
                </c:pt>
                <c:pt idx="4">
                  <c:v>1.6386580516175055E-2</c:v>
                </c:pt>
                <c:pt idx="5">
                  <c:v>6.4707980405049659E-2</c:v>
                </c:pt>
                <c:pt idx="6">
                  <c:v>1.1819860389618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593047473851809</c:v>
                </c:pt>
                <c:pt idx="4">
                  <c:v>2.5558696901447086E-2</c:v>
                </c:pt>
                <c:pt idx="5">
                  <c:v>0.478510828360034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0.1175948410456020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9560086799769093</c:v>
                </c:pt>
                <c:pt idx="5">
                  <c:v>8.05749731059066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37258079183278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8.07443682116558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3.2960674082718516E-4</c:v>
                </c:pt>
                <c:pt idx="4">
                  <c:v>2.5558696901447086E-2</c:v>
                </c:pt>
                <c:pt idx="5">
                  <c:v>5.587083807854242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976509875827702</c:v>
                </c:pt>
                <c:pt idx="2">
                  <c:v>0.20959695456476174</c:v>
                </c:pt>
                <c:pt idx="3">
                  <c:v>0.16789242813392036</c:v>
                </c:pt>
                <c:pt idx="4">
                  <c:v>0.332299698436339</c:v>
                </c:pt>
                <c:pt idx="5">
                  <c:v>0.179960675638434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970710399685453E-2</c:v>
                </c:pt>
                <c:pt idx="2">
                  <c:v>2.6146841651990622E-2</c:v>
                </c:pt>
                <c:pt idx="3">
                  <c:v>9.485304119917308E-2</c:v>
                </c:pt>
                <c:pt idx="4">
                  <c:v>4.499118227000734E-2</c:v>
                </c:pt>
                <c:pt idx="5">
                  <c:v>7.759216733359268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1006066755415164E-2</c:v>
                </c:pt>
                <c:pt idx="3">
                  <c:v>2.6441561849660927E-2</c:v>
                </c:pt>
                <c:pt idx="4">
                  <c:v>8.8039606848534527E-2</c:v>
                </c:pt>
                <c:pt idx="5">
                  <c:v>3.88988595532718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8.2098172766123009E-2</c:v>
                </c:pt>
                <c:pt idx="2">
                  <c:v>5.7943830949497767E-2</c:v>
                </c:pt>
                <c:pt idx="3">
                  <c:v>4.2701024220851792E-2</c:v>
                </c:pt>
                <c:pt idx="4">
                  <c:v>6.5590918261191081E-2</c:v>
                </c:pt>
                <c:pt idx="5">
                  <c:v>1.242883612809747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7.9598219952994806E-3</c:v>
                </c:pt>
                <c:pt idx="2">
                  <c:v>7.4500215207858198E-2</c:v>
                </c:pt>
                <c:pt idx="3">
                  <c:v>3.8968008642345738E-3</c:v>
                </c:pt>
                <c:pt idx="4">
                  <c:v>0.13367799105660602</c:v>
                </c:pt>
                <c:pt idx="5">
                  <c:v>5.104081262347277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468357751020842</c:v>
                </c:pt>
                <c:pt idx="2">
                  <c:v>0.23538969436701587</c:v>
                </c:pt>
                <c:pt idx="3">
                  <c:v>0.11727718156320037</c:v>
                </c:pt>
                <c:pt idx="4">
                  <c:v>0.26925060975128168</c:v>
                </c:pt>
                <c:pt idx="5">
                  <c:v>0.23036885781261315</c:v>
                </c:pt>
                <c:pt idx="6">
                  <c:v>8.778814038047288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6790219135821485E-2</c:v>
                </c:pt>
                <c:pt idx="2">
                  <c:v>5.4005130251259748E-2</c:v>
                </c:pt>
                <c:pt idx="3">
                  <c:v>8.0793952137310415E-2</c:v>
                </c:pt>
                <c:pt idx="4">
                  <c:v>9.5701064800259653E-3</c:v>
                </c:pt>
                <c:pt idx="5">
                  <c:v>9.4055171558825854E-2</c:v>
                </c:pt>
                <c:pt idx="6">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9.2660402847081449E-2</c:v>
                </c:pt>
                <c:pt idx="2">
                  <c:v>7.7800554359570215E-2</c:v>
                </c:pt>
                <c:pt idx="3">
                  <c:v>8.6251124281583498E-3</c:v>
                </c:pt>
                <c:pt idx="4">
                  <c:v>8.4284223346426851E-2</c:v>
                </c:pt>
                <c:pt idx="5">
                  <c:v>1.5077396017676884E-2</c:v>
                </c:pt>
                <c:pt idx="6">
                  <c:v>3.03847035099253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7.8311404423753145E-2</c:v>
                </c:pt>
                <c:pt idx="3">
                  <c:v>1.8882348219866989E-2</c:v>
                </c:pt>
                <c:pt idx="4">
                  <c:v>7.9747482769148073E-2</c:v>
                </c:pt>
                <c:pt idx="5">
                  <c:v>5.151538746637596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7385153119181269E-2</c:v>
                </c:pt>
                <c:pt idx="2">
                  <c:v>2.5272605332432765E-2</c:v>
                </c:pt>
                <c:pt idx="3">
                  <c:v>8.9757687778646202E-3</c:v>
                </c:pt>
                <c:pt idx="4">
                  <c:v>9.5648797155680795E-2</c:v>
                </c:pt>
                <c:pt idx="5">
                  <c:v>6.97209027697344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0.17813299245834574</c:v>
                </c:pt>
                <c:pt idx="3">
                  <c:v>0.21442455324174367</c:v>
                </c:pt>
                <c:pt idx="4">
                  <c:v>0.33445746283714922</c:v>
                </c:pt>
                <c:pt idx="5">
                  <c:v>0.187036354194513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9.6280795771019693E-6</c:v>
                </c:pt>
                <c:pt idx="3">
                  <c:v>0.14542215544022347</c:v>
                </c:pt>
                <c:pt idx="4">
                  <c:v>1.1530188638661246E-2</c:v>
                </c:pt>
                <c:pt idx="5">
                  <c:v>8.4001767879292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8.5517319788469048E-2</c:v>
                </c:pt>
                <c:pt idx="2">
                  <c:v>7.5099891325612428E-2</c:v>
                </c:pt>
                <c:pt idx="3">
                  <c:v>2.8439093690432658E-2</c:v>
                </c:pt>
                <c:pt idx="4">
                  <c:v>9.4755564569076856E-2</c:v>
                </c:pt>
                <c:pt idx="5">
                  <c:v>5.982980832951794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5.9352859898126727E-2</c:v>
                </c:pt>
                <c:pt idx="3">
                  <c:v>4.056330411108755E-2</c:v>
                </c:pt>
                <c:pt idx="4">
                  <c:v>9.1037794309395265E-2</c:v>
                </c:pt>
                <c:pt idx="5">
                  <c:v>4.323960295438646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4.3670613155029493E-2</c:v>
                </c:pt>
                <c:pt idx="4">
                  <c:v>0.13713391532001587</c:v>
                </c:pt>
                <c:pt idx="5">
                  <c:v>5.38120025278830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2014</c:v>
                </c:pt>
                <c:pt idx="4">
                  <c:v>0.64549999999999996</c:v>
                </c:pt>
                <c:pt idx="5">
                  <c:v>0.1531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7115859415532545E-3</c:v>
                </c:pt>
                <c:pt idx="1">
                  <c:v>3.3487926822339267E-2</c:v>
                </c:pt>
                <c:pt idx="2">
                  <c:v>0.11542314622600523</c:v>
                </c:pt>
                <c:pt idx="3">
                  <c:v>0.25306267888657741</c:v>
                </c:pt>
                <c:pt idx="4">
                  <c:v>0.39242675220379619</c:v>
                </c:pt>
                <c:pt idx="5">
                  <c:v>0.20010811840969855</c:v>
                </c:pt>
                <c:pt idx="6">
                  <c:v>7.797915100301700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588493934911453</c:v>
                </c:pt>
                <c:pt idx="4">
                  <c:v>2.2390625098833761E-2</c:v>
                </c:pt>
                <c:pt idx="5">
                  <c:v>0.48752033758852159</c:v>
                </c:pt>
                <c:pt idx="6">
                  <c:v>3.995123402850997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48079169897273E-2</c:v>
                </c:pt>
                <c:pt idx="2">
                  <c:v>4.2169192354775738E-2</c:v>
                </c:pt>
                <c:pt idx="3">
                  <c:v>0.31159330763478188</c:v>
                </c:pt>
                <c:pt idx="4">
                  <c:v>0.55257420013576153</c:v>
                </c:pt>
                <c:pt idx="5">
                  <c:v>5.809760309798891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1.878060916134092E-2</c:v>
                </c:pt>
                <c:pt idx="4">
                  <c:v>6.0194721989301196E-2</c:v>
                </c:pt>
                <c:pt idx="5">
                  <c:v>1.428051507679771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614172168225475E-2</c:v>
                </c:pt>
                <c:pt idx="2">
                  <c:v>4.2149154401220919E-2</c:v>
                </c:pt>
                <c:pt idx="3">
                  <c:v>8.9580346546279041E-2</c:v>
                </c:pt>
                <c:pt idx="4">
                  <c:v>0.148245123290232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1258845351777839E-2</c:v>
                </c:pt>
                <c:pt idx="4">
                  <c:v>0.10589845028343978</c:v>
                </c:pt>
                <c:pt idx="5">
                  <c:v>5.18647696076496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5767466266459945E-2</c:v>
                </c:pt>
                <c:pt idx="3">
                  <c:v>4.8097971929081482E-2</c:v>
                </c:pt>
                <c:pt idx="4">
                  <c:v>8.7500095698107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6388912211825822E-3</c:v>
                </c:pt>
                <c:pt idx="2">
                  <c:v>2.0037953554815927E-5</c:v>
                </c:pt>
                <c:pt idx="3">
                  <c:v>7.3875534646302587E-2</c:v>
                </c:pt>
                <c:pt idx="4">
                  <c:v>0.1507358088746803</c:v>
                </c:pt>
                <c:pt idx="5">
                  <c:v>3.863061106042624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8099999999999999</c:v>
                </c:pt>
                <c:pt idx="4">
                  <c:v>0.67</c:v>
                </c:pt>
                <c:pt idx="5">
                  <c:v>0.1489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7204326300153365E-2</c:v>
                </c:pt>
                <c:pt idx="2">
                  <c:v>4.8559042899347739E-2</c:v>
                </c:pt>
                <c:pt idx="3">
                  <c:v>0.24618674300182217</c:v>
                </c:pt>
                <c:pt idx="4">
                  <c:v>0.60115421813792924</c:v>
                </c:pt>
                <c:pt idx="5">
                  <c:v>5.68941861852150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1.852628303944447E-2</c:v>
                </c:pt>
                <c:pt idx="4">
                  <c:v>6.857874750025944E-2</c:v>
                </c:pt>
                <c:pt idx="5">
                  <c:v>1.52514096557669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7737478640480985E-2</c:v>
                </c:pt>
                <c:pt idx="2">
                  <c:v>4.8556042232930072E-2</c:v>
                </c:pt>
                <c:pt idx="3">
                  <c:v>4.9426808655054784E-2</c:v>
                </c:pt>
                <c:pt idx="4">
                  <c:v>0.1813656053096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8031779956883459E-2</c:v>
                </c:pt>
                <c:pt idx="3">
                  <c:v>3.9118744057247593E-2</c:v>
                </c:pt>
                <c:pt idx="4">
                  <c:v>0.103283275249647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5.5054676525125794E-2</c:v>
                </c:pt>
                <c:pt idx="4">
                  <c:v>7.4612851658717824E-2</c:v>
                </c:pt>
                <c:pt idx="5">
                  <c:v>4.7201494210500729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435067702788914E-2</c:v>
                </c:pt>
                <c:pt idx="2">
                  <c:v>3.0006664176675462E-6</c:v>
                </c:pt>
                <c:pt idx="3">
                  <c:v>8.4060230724949545E-2</c:v>
                </c:pt>
                <c:pt idx="4">
                  <c:v>0.17331373841970341</c:v>
                </c:pt>
                <c:pt idx="5">
                  <c:v>4.164230451450599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25290000000000001</c:v>
                </c:pt>
                <c:pt idx="4">
                  <c:v>0.58289999999999997</c:v>
                </c:pt>
                <c:pt idx="5">
                  <c:v>0.164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326372359036796E-2</c:v>
                </c:pt>
                <c:pt idx="2">
                  <c:v>7.2599537803512179E-2</c:v>
                </c:pt>
                <c:pt idx="3">
                  <c:v>0.29723458418362969</c:v>
                </c:pt>
                <c:pt idx="4">
                  <c:v>0.55923618607313497</c:v>
                </c:pt>
                <c:pt idx="5">
                  <c:v>5.048543530884941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3.4081454224107403E-2</c:v>
                </c:pt>
                <c:pt idx="4">
                  <c:v>7.8557783458637495E-2</c:v>
                </c:pt>
                <c:pt idx="5">
                  <c:v>2.213966869468540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4798148634116057E-3</c:v>
                </c:pt>
                <c:pt idx="2">
                  <c:v>7.2599537803512179E-2</c:v>
                </c:pt>
                <c:pt idx="3">
                  <c:v>9.908005973942835E-2</c:v>
                </c:pt>
                <c:pt idx="4">
                  <c:v>0.15379720625932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3.7465906228928772E-2</c:v>
                </c:pt>
                <c:pt idx="4">
                  <c:v>0.105436135671197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0815940222649742E-2</c:v>
                </c:pt>
                <c:pt idx="3">
                  <c:v>5.1972548894969002E-2</c:v>
                </c:pt>
                <c:pt idx="4">
                  <c:v>7.98482548892637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0617272975446421E-5</c:v>
                </c:pt>
                <c:pt idx="3">
                  <c:v>7.4634615096196136E-2</c:v>
                </c:pt>
                <c:pt idx="4">
                  <c:v>0.14159680579471523</c:v>
                </c:pt>
                <c:pt idx="5">
                  <c:v>2.834576661416399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132416561429879E-3</c:v>
                </c:pt>
                <c:pt idx="1">
                  <c:v>9.1680698553222532E-3</c:v>
                </c:pt>
                <c:pt idx="2">
                  <c:v>9.5878988297154716E-2</c:v>
                </c:pt>
                <c:pt idx="3">
                  <c:v>0.12681280824640867</c:v>
                </c:pt>
                <c:pt idx="4">
                  <c:v>0.38312067811449413</c:v>
                </c:pt>
                <c:pt idx="5">
                  <c:v>0.382006213830477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8560673316729203</c:v>
                </c:pt>
                <c:pt idx="5">
                  <c:v>0.101435769124919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6318977189908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8.8237666396748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2.7820618182252944E-4</c:v>
                </c:pt>
                <c:pt idx="4">
                  <c:v>2.2390625098833761E-2</c:v>
                </c:pt>
                <c:pt idx="5">
                  <c:v>0.1346571301677694</c:v>
                </c:pt>
                <c:pt idx="6">
                  <c:v>3.995123402850997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1.0476051752909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9487915336276094E-3</c:v>
                </c:pt>
                <c:pt idx="1">
                  <c:v>7.0813147290244606E-3</c:v>
                </c:pt>
                <c:pt idx="2">
                  <c:v>5.9583497028407206E-2</c:v>
                </c:pt>
                <c:pt idx="3">
                  <c:v>4.4747968937113539E-2</c:v>
                </c:pt>
                <c:pt idx="4">
                  <c:v>0.2200930451692536</c:v>
                </c:pt>
                <c:pt idx="5">
                  <c:v>0.231664845584989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2.5338508667762823E-2</c:v>
                </c:pt>
                <c:pt idx="3">
                  <c:v>1.8231797180502881E-2</c:v>
                </c:pt>
                <c:pt idx="4">
                  <c:v>3.9551849488055152E-2</c:v>
                </c:pt>
                <c:pt idx="5">
                  <c:v>4.65519492121854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8.0315571529386721E-3</c:v>
                </c:pt>
                <c:pt idx="3">
                  <c:v>1.1385012787671881E-2</c:v>
                </c:pt>
                <c:pt idx="4">
                  <c:v>2.4798644373535281E-2</c:v>
                </c:pt>
                <c:pt idx="5">
                  <c:v>4.469824120521619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0644501225153785E-3</c:v>
                </c:pt>
                <c:pt idx="1">
                  <c:v>2.0867551262977921E-3</c:v>
                </c:pt>
                <c:pt idx="3">
                  <c:v>5.2448029341120361E-2</c:v>
                </c:pt>
                <c:pt idx="4">
                  <c:v>9.867713908365009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4975365598015995E-3</c:v>
                </c:pt>
                <c:pt idx="1">
                  <c:v>2.6598041864621942E-3</c:v>
                </c:pt>
                <c:pt idx="2">
                  <c:v>8.6510670533308409E-2</c:v>
                </c:pt>
                <c:pt idx="3">
                  <c:v>0.12974197681813057</c:v>
                </c:pt>
                <c:pt idx="4">
                  <c:v>0.431716533043907</c:v>
                </c:pt>
                <c:pt idx="5">
                  <c:v>0.3468734788583902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1.614462086261064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6379025521232942E-3</c:v>
                </c:pt>
                <c:pt idx="2">
                  <c:v>5.4935686849600637E-2</c:v>
                </c:pt>
                <c:pt idx="3">
                  <c:v>3.0131992612146163E-2</c:v>
                </c:pt>
                <c:pt idx="4">
                  <c:v>0.25750047951529925</c:v>
                </c:pt>
                <c:pt idx="5">
                  <c:v>0.179527410156338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6.7867160776327196E-6</c:v>
                </c:pt>
                <c:pt idx="3">
                  <c:v>2.6903631912361108E-2</c:v>
                </c:pt>
                <c:pt idx="4">
                  <c:v>4.799937502108327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015872551181919E-2</c:v>
                </c:pt>
                <c:pt idx="3">
                  <c:v>1.4920294777882427E-2</c:v>
                </c:pt>
                <c:pt idx="4">
                  <c:v>2.7240050179626343E-2</c:v>
                </c:pt>
                <c:pt idx="5">
                  <c:v>4.62098106513727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0151149182612673E-3</c:v>
                </c:pt>
                <c:pt idx="2">
                  <c:v>1.1416258171888585E-2</c:v>
                </c:pt>
                <c:pt idx="3">
                  <c:v>5.7786057515740862E-2</c:v>
                </c:pt>
                <c:pt idx="4">
                  <c:v>9.8976628327898164E-2</c:v>
                </c:pt>
                <c:pt idx="5">
                  <c:v>0.104991637188068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0815776284355207E-4</c:v>
                </c:pt>
                <c:pt idx="2">
                  <c:v>8.3312816052570876E-2</c:v>
                </c:pt>
                <c:pt idx="3">
                  <c:v>0.13055996567023354</c:v>
                </c:pt>
                <c:pt idx="4">
                  <c:v>0.38648477014640992</c:v>
                </c:pt>
                <c:pt idx="5">
                  <c:v>0.3986729164574497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1.375085520330023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3.1739914264271918E-2</c:v>
                </c:pt>
                <c:pt idx="3">
                  <c:v>4.3716402377673984E-2</c:v>
                </c:pt>
                <c:pt idx="4">
                  <c:v>0.19798381364191134</c:v>
                </c:pt>
                <c:pt idx="5">
                  <c:v>0.240702350463839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4.0702129634083491E-2</c:v>
                </c:pt>
                <c:pt idx="3">
                  <c:v>3.0382577045142214E-2</c:v>
                </c:pt>
                <c:pt idx="4">
                  <c:v>7.0619147688679121E-2</c:v>
                </c:pt>
                <c:pt idx="5">
                  <c:v>6.492019061240952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9618211708881627E-2</c:v>
                </c:pt>
                <c:pt idx="4">
                  <c:v>5.420166632791263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5.0815776284355207E-4</c:v>
                </c:pt>
                <c:pt idx="2">
                  <c:v>1.0870772154215462E-2</c:v>
                </c:pt>
                <c:pt idx="3">
                  <c:v>1.6842774538535707E-2</c:v>
                </c:pt>
                <c:pt idx="4">
                  <c:v>6.3680142487906849E-2</c:v>
                </c:pt>
                <c:pt idx="5">
                  <c:v>7.929952017790045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797037320037875E-2</c:v>
                </c:pt>
                <c:pt idx="1">
                  <c:v>6.6281020707424962E-2</c:v>
                </c:pt>
                <c:pt idx="2">
                  <c:v>0.21222544325068682</c:v>
                </c:pt>
                <c:pt idx="3">
                  <c:v>0.4881235136927875</c:v>
                </c:pt>
                <c:pt idx="4">
                  <c:v>0.20707641511045416</c:v>
                </c:pt>
                <c:pt idx="5">
                  <c:v>9.496569918608645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0238617619303347E-6</c:v>
                </c:pt>
                <c:pt idx="1">
                  <c:v>5.2896619090354015E-2</c:v>
                </c:pt>
                <c:pt idx="2">
                  <c:v>8.3754436001402893E-2</c:v>
                </c:pt>
                <c:pt idx="3">
                  <c:v>0.14996591681868793</c:v>
                </c:pt>
                <c:pt idx="4">
                  <c:v>7.5151478632054028E-2</c:v>
                </c:pt>
                <c:pt idx="5">
                  <c:v>1.806205548743536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8618861954467054E-2</c:v>
                </c:pt>
                <c:pt idx="4">
                  <c:v>6.7762173818584862E-2</c:v>
                </c:pt>
                <c:pt idx="5">
                  <c:v>2.39505824768597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854849497948708E-4</c:v>
                </c:pt>
                <c:pt idx="2">
                  <c:v>7.5135480004825964E-2</c:v>
                </c:pt>
                <c:pt idx="3">
                  <c:v>3.5992839927888994E-2</c:v>
                </c:pt>
                <c:pt idx="4">
                  <c:v>1.752774248987401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6795013458275946E-2</c:v>
                </c:pt>
                <c:pt idx="1">
                  <c:v>1.2998916667276076E-2</c:v>
                </c:pt>
                <c:pt idx="2">
                  <c:v>5.3335527244457968E-2</c:v>
                </c:pt>
                <c:pt idx="3">
                  <c:v>0.21354589499174359</c:v>
                </c:pt>
                <c:pt idx="4">
                  <c:v>4.6635020169941248E-2</c:v>
                </c:pt>
                <c:pt idx="5">
                  <c:v>5.29530612217913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30936481089645E-2</c:v>
                </c:pt>
                <c:pt idx="1">
                  <c:v>4.58853424980189E-2</c:v>
                </c:pt>
                <c:pt idx="2">
                  <c:v>0.19124469261645943</c:v>
                </c:pt>
                <c:pt idx="3">
                  <c:v>0.50343710515048379</c:v>
                </c:pt>
                <c:pt idx="4">
                  <c:v>0.23257033706164643</c:v>
                </c:pt>
                <c:pt idx="5">
                  <c:v>1.17315861923018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2843822305474016E-2</c:v>
                </c:pt>
                <c:pt idx="2">
                  <c:v>6.3974896538575313E-2</c:v>
                </c:pt>
                <c:pt idx="3">
                  <c:v>0.14093418959066523</c:v>
                </c:pt>
                <c:pt idx="4">
                  <c:v>7.10388434465586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3921297738606626E-2</c:v>
                </c:pt>
                <c:pt idx="4">
                  <c:v>8.2993007242709221E-2</c:v>
                </c:pt>
                <c:pt idx="5">
                  <c:v>3.603623746022635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8.3154878141065264E-4</c:v>
                </c:pt>
                <c:pt idx="2">
                  <c:v>7.4036116742946231E-2</c:v>
                </c:pt>
                <c:pt idx="3">
                  <c:v>4.9380779319311785E-2</c:v>
                </c:pt>
                <c:pt idx="4">
                  <c:v>1.46272243837767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130936481089645E-2</c:v>
                </c:pt>
                <c:pt idx="1">
                  <c:v>1.2209971411134227E-2</c:v>
                </c:pt>
                <c:pt idx="2">
                  <c:v>5.3233679334937875E-2</c:v>
                </c:pt>
                <c:pt idx="3">
                  <c:v>0.22920083850190018</c:v>
                </c:pt>
                <c:pt idx="4">
                  <c:v>6.3911261988601809E-2</c:v>
                </c:pt>
                <c:pt idx="5">
                  <c:v>8.12796244627917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262381599003958E-2</c:v>
                </c:pt>
                <c:pt idx="1">
                  <c:v>6.7529882543703984E-2</c:v>
                </c:pt>
                <c:pt idx="2">
                  <c:v>0.22654494927316576</c:v>
                </c:pt>
                <c:pt idx="3">
                  <c:v>0.47410950417657494</c:v>
                </c:pt>
                <c:pt idx="4">
                  <c:v>0.18871797876878638</c:v>
                </c:pt>
                <c:pt idx="5">
                  <c:v>1.383530363876503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10713691627244884</c:v>
                </c:pt>
                <c:pt idx="4">
                  <c:v>6.8946896404207661E-2</c:v>
                </c:pt>
                <c:pt idx="5">
                  <c:v>3.251600805340189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5333232533177838E-2</c:v>
                </c:pt>
                <c:pt idx="2">
                  <c:v>7.0107424510208904E-2</c:v>
                </c:pt>
                <c:pt idx="3">
                  <c:v>9.2244802582413174E-2</c:v>
                </c:pt>
                <c:pt idx="4">
                  <c:v>5.7574974938621626E-2</c:v>
                </c:pt>
                <c:pt idx="5">
                  <c:v>3.849721919379649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1897722085289953E-2</c:v>
                </c:pt>
                <c:pt idx="2">
                  <c:v>4.9725030197845625E-2</c:v>
                </c:pt>
                <c:pt idx="3">
                  <c:v>8.697601703860236E-2</c:v>
                </c:pt>
                <c:pt idx="4">
                  <c:v>2.3761273400165282E-2</c:v>
                </c:pt>
                <c:pt idx="5">
                  <c:v>6.68690868832230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9262381599003958E-2</c:v>
                </c:pt>
                <c:pt idx="1">
                  <c:v>2.9892792523618708E-4</c:v>
                </c:pt>
                <c:pt idx="2">
                  <c:v>0.10671249456511124</c:v>
                </c:pt>
                <c:pt idx="3">
                  <c:v>0.18775176828311049</c:v>
                </c:pt>
                <c:pt idx="4">
                  <c:v>3.8434834025791821E-2</c:v>
                </c:pt>
                <c:pt idx="5">
                  <c:v>4.707222572289747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163206576342793E-3</c:v>
                </c:pt>
                <c:pt idx="2">
                  <c:v>7.1630185775853478E-2</c:v>
                </c:pt>
                <c:pt idx="3">
                  <c:v>0.18213042192281223</c:v>
                </c:pt>
                <c:pt idx="4">
                  <c:v>0.58337040901939197</c:v>
                </c:pt>
                <c:pt idx="5">
                  <c:v>0.15683276160589696</c:v>
                </c:pt>
                <c:pt idx="6">
                  <c:v>3.847281902812153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8.7599463244546197E-5</c:v>
                </c:pt>
                <c:pt idx="2">
                  <c:v>2.3159885139278184E-2</c:v>
                </c:pt>
                <c:pt idx="3">
                  <c:v>9.079313517481756E-2</c:v>
                </c:pt>
                <c:pt idx="4">
                  <c:v>0.24124098885699305</c:v>
                </c:pt>
                <c:pt idx="5">
                  <c:v>7.5033477263298107E-2</c:v>
                </c:pt>
                <c:pt idx="6">
                  <c:v>3.703586436231475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4497032775931784E-4</c:v>
                </c:pt>
                <c:pt idx="2">
                  <c:v>3.5505788445723573E-2</c:v>
                </c:pt>
                <c:pt idx="3">
                  <c:v>4.8514440208670587E-2</c:v>
                </c:pt>
                <c:pt idx="4">
                  <c:v>0.14895993286776413</c:v>
                </c:pt>
                <c:pt idx="5">
                  <c:v>8.140464273285479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3927200276801803E-3</c:v>
                </c:pt>
                <c:pt idx="3">
                  <c:v>2.4115749724647358E-2</c:v>
                </c:pt>
                <c:pt idx="4">
                  <c:v>5.2993314390311158E-2</c:v>
                </c:pt>
                <c:pt idx="5">
                  <c:v>6.364195018978527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1.057179216317153E-2</c:v>
                </c:pt>
                <c:pt idx="3">
                  <c:v>1.8707096814676735E-2</c:v>
                </c:pt>
                <c:pt idx="4">
                  <c:v>0.1401761729043236</c:v>
                </c:pt>
                <c:pt idx="5">
                  <c:v>7.3022400567415519E-2</c:v>
                </c:pt>
                <c:pt idx="6">
                  <c:v>1.436954665806782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018187685461738</c:v>
                </c:pt>
                <c:pt idx="4">
                  <c:v>1.6386580516175052E-2</c:v>
                </c:pt>
                <c:pt idx="5">
                  <c:v>0.49161168223958929</c:v>
                </c:pt>
                <c:pt idx="6">
                  <c:v>1.181986038961826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1035385751206645E-3</c:v>
                </c:pt>
                <c:pt idx="2">
                  <c:v>9.2177410380318181E-2</c:v>
                </c:pt>
                <c:pt idx="3">
                  <c:v>0.14424491130230155</c:v>
                </c:pt>
                <c:pt idx="4">
                  <c:v>0.56687151041155004</c:v>
                </c:pt>
                <c:pt idx="5">
                  <c:v>0.19372224476650263</c:v>
                </c:pt>
                <c:pt idx="6">
                  <c:v>7.2957935325007519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3007935502443258E-2</c:v>
                </c:pt>
                <c:pt idx="3">
                  <c:v>5.2165348389913241E-2</c:v>
                </c:pt>
                <c:pt idx="4">
                  <c:v>0.20214649925508837</c:v>
                </c:pt>
                <c:pt idx="5">
                  <c:v>0.10372441251558287</c:v>
                </c:pt>
                <c:pt idx="6">
                  <c:v>4.525976182421893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0785858632611054E-5</c:v>
                </c:pt>
                <c:pt idx="2">
                  <c:v>3.7643461722091778E-2</c:v>
                </c:pt>
                <c:pt idx="3">
                  <c:v>5.2246089232947733E-2</c:v>
                </c:pt>
                <c:pt idx="4">
                  <c:v>0.16377976700594907</c:v>
                </c:pt>
                <c:pt idx="5">
                  <c:v>6.951719857300417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havro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3.033674906731739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1.1526013155783148E-2</c:v>
                </c:pt>
                <c:pt idx="3">
                  <c:v>3.9833473679440595E-2</c:v>
                </c:pt>
                <c:pt idx="4">
                  <c:v>0.17060849508319506</c:v>
                </c:pt>
                <c:pt idx="5">
                  <c:v>8.3046112393619323E-2</c:v>
                </c:pt>
                <c:pt idx="6">
                  <c:v>2.769817350078858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53742015450741E-3</c:v>
                </c:pt>
                <c:pt idx="2">
                  <c:v>0.10056376439324646</c:v>
                </c:pt>
                <c:pt idx="3">
                  <c:v>0.20390060448269487</c:v>
                </c:pt>
                <c:pt idx="4">
                  <c:v>0.55943323609585205</c:v>
                </c:pt>
                <c:pt idx="5">
                  <c:v>0.1038446609746087</c:v>
                </c:pt>
                <c:pt idx="6">
                  <c:v>2.87023598520529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5815978632429484E-2</c:v>
                </c:pt>
                <c:pt idx="3">
                  <c:v>7.6385241605657572E-2</c:v>
                </c:pt>
                <c:pt idx="4">
                  <c:v>0.19863748728436206</c:v>
                </c:pt>
                <c:pt idx="5">
                  <c:v>3.435974670500273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3709339543574292E-2</c:v>
                </c:pt>
                <c:pt idx="3">
                  <c:v>9.3925668571629539E-2</c:v>
                </c:pt>
                <c:pt idx="4">
                  <c:v>0.18685064975207327</c:v>
                </c:pt>
                <c:pt idx="5">
                  <c:v>6.00227565615086E-2</c:v>
                </c:pt>
                <c:pt idx="6">
                  <c:v>2.870235985205291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6727910802191755E-2</c:v>
                </c:pt>
                <c:pt idx="4">
                  <c:v>6.945060947337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5553742015450741E-3</c:v>
                </c:pt>
                <c:pt idx="2">
                  <c:v>1.0384462172426975E-3</c:v>
                </c:pt>
                <c:pt idx="3">
                  <c:v>6.8617835032159964E-3</c:v>
                </c:pt>
                <c:pt idx="4">
                  <c:v>0.1044944895860412</c:v>
                </c:pt>
                <c:pt idx="5">
                  <c:v>4.038592974259980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3856141960207543E-4</c:v>
                </c:pt>
                <c:pt idx="1">
                  <c:v>1.5620317363869789E-3</c:v>
                </c:pt>
                <c:pt idx="2">
                  <c:v>5.554790142341344E-3</c:v>
                </c:pt>
                <c:pt idx="3">
                  <c:v>3.366878548745144E-2</c:v>
                </c:pt>
                <c:pt idx="4">
                  <c:v>0.88843076945420352</c:v>
                </c:pt>
                <c:pt idx="5">
                  <c:v>7.02450617600147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9993966973793626E-5</c:v>
                </c:pt>
                <c:pt idx="4">
                  <c:v>0.32425813305511542</c:v>
                </c:pt>
                <c:pt idx="5">
                  <c:v>1.21289536781735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9.3137540633138035E-4</c:v>
                </c:pt>
                <c:pt idx="4">
                  <c:v>0.16433112599937943</c:v>
                </c:pt>
                <c:pt idx="5">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5.185674526282818E-4</c:v>
                </c:pt>
                <c:pt idx="1">
                  <c:v>1.5620317363869789E-3</c:v>
                </c:pt>
                <c:pt idx="2">
                  <c:v>5.554790142341344E-3</c:v>
                </c:pt>
                <c:pt idx="3">
                  <c:v>3.2737410081120064E-2</c:v>
                </c:pt>
                <c:pt idx="4">
                  <c:v>0.21684337898925027</c:v>
                </c:pt>
                <c:pt idx="5">
                  <c:v>4.105279054938416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450492937243368E-3</c:v>
                </c:pt>
                <c:pt idx="1">
                  <c:v>2.2320532191512647E-3</c:v>
                </c:pt>
                <c:pt idx="2">
                  <c:v>5.5221708815645486E-3</c:v>
                </c:pt>
                <c:pt idx="3">
                  <c:v>3.2054568203037939E-2</c:v>
                </c:pt>
                <c:pt idx="4">
                  <c:v>0.84684811308442187</c:v>
                </c:pt>
                <c:pt idx="5">
                  <c:v>0.11209804531810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7976649108206537</c:v>
                </c:pt>
                <c:pt idx="5">
                  <c:v>0.113533278175020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0.1000311054065661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1538577255202636E-4</c:v>
                </c:pt>
                <c:pt idx="4">
                  <c:v>1.6386580516175055E-2</c:v>
                </c:pt>
                <c:pt idx="5">
                  <c:v>0.11375019107260274</c:v>
                </c:pt>
                <c:pt idx="6">
                  <c:v>1.1819860389618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2784618550905057E-4</c:v>
                </c:pt>
                <c:pt idx="4">
                  <c:v>0.20313096092644092</c:v>
                </c:pt>
                <c:pt idx="5">
                  <c:v>1.655333585992952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7623447649261598</c:v>
                </c:pt>
                <c:pt idx="5">
                  <c:v>2.06328056763078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1172031082152861E-3</c:v>
                </c:pt>
                <c:pt idx="1">
                  <c:v>2.2320532191512647E-3</c:v>
                </c:pt>
                <c:pt idx="2">
                  <c:v>5.5221708815645486E-3</c:v>
                </c:pt>
                <c:pt idx="3">
                  <c:v>3.2054568203037939E-2</c:v>
                </c:pt>
                <c:pt idx="4">
                  <c:v>0.30120106393124985</c:v>
                </c:pt>
                <c:pt idx="5">
                  <c:v>7.49119037818627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7239854391077266E-2</c:v>
                </c:pt>
                <c:pt idx="4">
                  <c:v>0.86683859195054502</c:v>
                </c:pt>
                <c:pt idx="5">
                  <c:v>8.535866903762184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2677053560622282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26279747884294907</c:v>
                </c:pt>
                <c:pt idx="5">
                  <c:v>2.31953896714489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5900475742707917</c:v>
                </c:pt>
                <c:pt idx="5">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7239854391077266E-2</c:v>
                </c:pt>
                <c:pt idx="4">
                  <c:v>0.17733099961828863</c:v>
                </c:pt>
                <c:pt idx="5">
                  <c:v>3.84347971809218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593047473851809</c:v>
                </c:pt>
                <c:pt idx="4">
                  <c:v>2.5558696901447086E-2</c:v>
                </c:pt>
                <c:pt idx="5">
                  <c:v>0.478510828360034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9560086799769093</c:v>
                </c:pt>
                <c:pt idx="5">
                  <c:v>8.05749731059066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37258079183278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0.1175948410456020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3.2960674082718516E-4</c:v>
                </c:pt>
                <c:pt idx="4">
                  <c:v>2.5558696901447086E-2</c:v>
                </c:pt>
                <c:pt idx="5">
                  <c:v>0.1366152062901982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4959999999999999</c:v>
                </c:pt>
                <c:pt idx="3">
                  <c:v>0.12939999999999999</c:v>
                </c:pt>
                <c:pt idx="4">
                  <c:v>0.43080000000000002</c:v>
                </c:pt>
                <c:pt idx="5">
                  <c:v>0.19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976509875827702</c:v>
                </c:pt>
                <c:pt idx="2">
                  <c:v>0.20959695456476174</c:v>
                </c:pt>
                <c:pt idx="3">
                  <c:v>0.16789242813392036</c:v>
                </c:pt>
                <c:pt idx="4">
                  <c:v>0.332299698436339</c:v>
                </c:pt>
                <c:pt idx="5">
                  <c:v>0.179960675638434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5.1472887524785108E-3</c:v>
                </c:pt>
                <c:pt idx="3">
                  <c:v>2.6683561890659801E-3</c:v>
                </c:pt>
                <c:pt idx="4">
                  <c:v>9.1950021647084837E-3</c:v>
                </c:pt>
                <c:pt idx="5">
                  <c:v>4.540858142517581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6.4687839666768626E-4</c:v>
                </c:pt>
                <c:pt idx="1">
                  <c:v>1.4699899732998773E-2</c:v>
                </c:pt>
                <c:pt idx="2">
                  <c:v>4.870484135073716E-2</c:v>
                </c:pt>
                <c:pt idx="3">
                  <c:v>7.1841435164868905E-2</c:v>
                </c:pt>
                <c:pt idx="4">
                  <c:v>0.15555530438464388</c:v>
                </c:pt>
                <c:pt idx="5">
                  <c:v>9.2802072983132033E-2</c:v>
                </c:pt>
                <c:pt idx="6">
                  <c:v>5.494683725974274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009048121623818E-6</c:v>
                </c:pt>
                <c:pt idx="1">
                  <c:v>5.1156760901953684E-5</c:v>
                </c:pt>
                <c:pt idx="2">
                  <c:v>5.2652677172295419E-3</c:v>
                </c:pt>
                <c:pt idx="3">
                  <c:v>7.1943625823338749E-3</c:v>
                </c:pt>
                <c:pt idx="4">
                  <c:v>2.2089748179744576E-2</c:v>
                </c:pt>
                <c:pt idx="5">
                  <c:v>1.237918718693102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1.9542554366486414E-2</c:v>
                </c:pt>
                <c:pt idx="5">
                  <c:v>4.082138688441957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0616984967639441E-3</c:v>
                </c:pt>
                <c:pt idx="1">
                  <c:v>1.8736870328438536E-2</c:v>
                </c:pt>
                <c:pt idx="2">
                  <c:v>5.6305748405560026E-2</c:v>
                </c:pt>
                <c:pt idx="3">
                  <c:v>0.15181597058382218</c:v>
                </c:pt>
                <c:pt idx="4">
                  <c:v>0.20558669747469918</c:v>
                </c:pt>
                <c:pt idx="5">
                  <c:v>9.7445129876913908E-2</c:v>
                </c:pt>
                <c:pt idx="6">
                  <c:v>2.303231374327426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5.1006066755415164E-2</c:v>
                </c:pt>
                <c:pt idx="3">
                  <c:v>2.6441561849660927E-2</c:v>
                </c:pt>
                <c:pt idx="4">
                  <c:v>8.8039606848534527E-2</c:v>
                </c:pt>
                <c:pt idx="5">
                  <c:v>3.889885955327180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970710399685453E-2</c:v>
                </c:pt>
                <c:pt idx="2">
                  <c:v>2.6146841651990622E-2</c:v>
                </c:pt>
                <c:pt idx="3">
                  <c:v>9.485304119917308E-2</c:v>
                </c:pt>
                <c:pt idx="4">
                  <c:v>4.499118227000734E-2</c:v>
                </c:pt>
                <c:pt idx="5">
                  <c:v>7.759216733359268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8.2098172766123009E-2</c:v>
                </c:pt>
                <c:pt idx="2">
                  <c:v>5.7943830949497767E-2</c:v>
                </c:pt>
                <c:pt idx="3">
                  <c:v>4.2701024220851792E-2</c:v>
                </c:pt>
                <c:pt idx="4">
                  <c:v>6.5590918261191081E-2</c:v>
                </c:pt>
                <c:pt idx="5">
                  <c:v>1.242883612809747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7.9598219952994806E-3</c:v>
                </c:pt>
                <c:pt idx="2">
                  <c:v>7.1942690401433543E-2</c:v>
                </c:pt>
                <c:pt idx="3">
                  <c:v>3.8968008642345738E-3</c:v>
                </c:pt>
                <c:pt idx="4">
                  <c:v>6.7446694636725937E-2</c:v>
                </c:pt>
                <c:pt idx="5">
                  <c:v>9.748964456850599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2.5575248064246526E-3</c:v>
                </c:pt>
                <c:pt idx="4">
                  <c:v>6.6231296419880084E-2</c:v>
                </c:pt>
                <c:pt idx="5">
                  <c:v>4.12918481666221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4279999999999999</c:v>
                </c:pt>
                <c:pt idx="3">
                  <c:v>8.2699999999999996E-2</c:v>
                </c:pt>
                <c:pt idx="4">
                  <c:v>0.34910000000000002</c:v>
                </c:pt>
                <c:pt idx="5">
                  <c:v>0.2255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468357751020842</c:v>
                </c:pt>
                <c:pt idx="2">
                  <c:v>0.23538969436701587</c:v>
                </c:pt>
                <c:pt idx="3">
                  <c:v>0.11727718156320037</c:v>
                </c:pt>
                <c:pt idx="4">
                  <c:v>0.26925060975128168</c:v>
                </c:pt>
                <c:pt idx="5">
                  <c:v>0.23036885781261315</c:v>
                </c:pt>
                <c:pt idx="6">
                  <c:v>8.778814038047288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7.8311404423753145E-2</c:v>
                </c:pt>
                <c:pt idx="3">
                  <c:v>1.8882348219866989E-2</c:v>
                </c:pt>
                <c:pt idx="4">
                  <c:v>7.9747482769148073E-2</c:v>
                </c:pt>
                <c:pt idx="5">
                  <c:v>5.151538746637596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6790219135821485E-2</c:v>
                </c:pt>
                <c:pt idx="2">
                  <c:v>5.4005130251259748E-2</c:v>
                </c:pt>
                <c:pt idx="3">
                  <c:v>8.0793952137310415E-2</c:v>
                </c:pt>
                <c:pt idx="4">
                  <c:v>9.5701064800259653E-3</c:v>
                </c:pt>
                <c:pt idx="5">
                  <c:v>9.4055171558825854E-2</c:v>
                </c:pt>
                <c:pt idx="6">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9.2660402847081449E-2</c:v>
                </c:pt>
                <c:pt idx="2">
                  <c:v>7.7800554359570215E-2</c:v>
                </c:pt>
                <c:pt idx="3">
                  <c:v>8.6251124281583498E-3</c:v>
                </c:pt>
                <c:pt idx="4">
                  <c:v>8.4284223346426851E-2</c:v>
                </c:pt>
                <c:pt idx="5">
                  <c:v>1.5077396017676884E-2</c:v>
                </c:pt>
                <c:pt idx="6">
                  <c:v>3.03847035099253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4.876471996844424E-2</c:v>
                </c:pt>
                <c:pt idx="5">
                  <c:v>4.69606592107808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7385153119181269E-2</c:v>
                </c:pt>
                <c:pt idx="2">
                  <c:v>2.5272605332432765E-2</c:v>
                </c:pt>
                <c:pt idx="3">
                  <c:v>8.9757687778646202E-3</c:v>
                </c:pt>
                <c:pt idx="4">
                  <c:v>4.6884077187236556E-2</c:v>
                </c:pt>
                <c:pt idx="5">
                  <c:v>2.276024355895354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5340000000000001</c:v>
                </c:pt>
                <c:pt idx="3">
                  <c:v>0.17319999999999999</c:v>
                </c:pt>
                <c:pt idx="4">
                  <c:v>0.38869999999999999</c:v>
                </c:pt>
                <c:pt idx="5">
                  <c:v>0.184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0.17813299245834574</c:v>
                </c:pt>
                <c:pt idx="3">
                  <c:v>0.21442455324174367</c:v>
                </c:pt>
                <c:pt idx="4">
                  <c:v>0.33445746283714922</c:v>
                </c:pt>
                <c:pt idx="5">
                  <c:v>0.187036354194513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5.9352859898126727E-2</c:v>
                </c:pt>
                <c:pt idx="3">
                  <c:v>4.056330411108755E-2</c:v>
                </c:pt>
                <c:pt idx="4">
                  <c:v>9.1037794309395265E-2</c:v>
                </c:pt>
                <c:pt idx="5">
                  <c:v>4.323960295438646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9.6280795771019693E-6</c:v>
                </c:pt>
                <c:pt idx="3">
                  <c:v>0.14542215544022347</c:v>
                </c:pt>
                <c:pt idx="4">
                  <c:v>1.1530188638661246E-2</c:v>
                </c:pt>
                <c:pt idx="5">
                  <c:v>8.4001767879292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8.5517319788469048E-2</c:v>
                </c:pt>
                <c:pt idx="2">
                  <c:v>7.5099891325612428E-2</c:v>
                </c:pt>
                <c:pt idx="3">
                  <c:v>2.8439093690432658E-2</c:v>
                </c:pt>
                <c:pt idx="4">
                  <c:v>9.4755564569076856E-2</c:v>
                </c:pt>
                <c:pt idx="5">
                  <c:v>5.982980832951794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4.3670613155029493E-2</c:v>
                </c:pt>
                <c:pt idx="4">
                  <c:v>7.1197190239585539E-2</c:v>
                </c:pt>
                <c:pt idx="5">
                  <c:v>1.0948253169328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4">
                  <c:v>6.5936725080430317E-2</c:v>
                </c:pt>
                <c:pt idx="5">
                  <c:v>4.286374935855480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33529999999999999</c:v>
                </c:pt>
                <c:pt idx="5">
                  <c:v>0.6646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48079169897273E-2</c:v>
                </c:pt>
                <c:pt idx="2">
                  <c:v>4.2169192354775738E-2</c:v>
                </c:pt>
                <c:pt idx="3">
                  <c:v>0.31159330763478188</c:v>
                </c:pt>
                <c:pt idx="4">
                  <c:v>0.55257420013576153</c:v>
                </c:pt>
                <c:pt idx="5">
                  <c:v>5.809760309798891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2.4145962907951308E-3</c:v>
                </c:pt>
                <c:pt idx="5">
                  <c:v>4.785952485926713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614172168225475E-2</c:v>
                </c:pt>
                <c:pt idx="2">
                  <c:v>4.2149154401220919E-2</c:v>
                </c:pt>
                <c:pt idx="3">
                  <c:v>8.9580346546279041E-2</c:v>
                </c:pt>
                <c:pt idx="4">
                  <c:v>0.148245123290232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1258845351777839E-2</c:v>
                </c:pt>
                <c:pt idx="4">
                  <c:v>0.10589845028343978</c:v>
                </c:pt>
                <c:pt idx="5">
                  <c:v>5.18647696076496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5767466266459945E-2</c:v>
                </c:pt>
                <c:pt idx="3">
                  <c:v>4.8097971929081482E-2</c:v>
                </c:pt>
                <c:pt idx="4">
                  <c:v>8.7500095698107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6388912211825822E-3</c:v>
                </c:pt>
                <c:pt idx="2">
                  <c:v>2.0037953554815927E-5</c:v>
                </c:pt>
                <c:pt idx="3">
                  <c:v>9.2656143807643518E-2</c:v>
                </c:pt>
                <c:pt idx="4">
                  <c:v>0.20851593457318637</c:v>
                </c:pt>
                <c:pt idx="5">
                  <c:v>4.812517365129724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2469999999999999</c:v>
                </c:pt>
                <c:pt idx="3">
                  <c:v>7.8299999999999995E-2</c:v>
                </c:pt>
                <c:pt idx="4">
                  <c:v>0.35499999999999998</c:v>
                </c:pt>
                <c:pt idx="5">
                  <c:v>0.241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46250000000000002</c:v>
                </c:pt>
                <c:pt idx="5">
                  <c:v>0.5374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7204326300153365E-2</c:v>
                </c:pt>
                <c:pt idx="2">
                  <c:v>4.8559042899347739E-2</c:v>
                </c:pt>
                <c:pt idx="3">
                  <c:v>0.24618674300182217</c:v>
                </c:pt>
                <c:pt idx="4">
                  <c:v>0.60115421813792924</c:v>
                </c:pt>
                <c:pt idx="5">
                  <c:v>5.68941861852150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4.7848491834714662E-3</c:v>
                </c:pt>
                <c:pt idx="5">
                  <c:v>5.561246332528187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7737478640480985E-2</c:v>
                </c:pt>
                <c:pt idx="2">
                  <c:v>4.8556042232930072E-2</c:v>
                </c:pt>
                <c:pt idx="3">
                  <c:v>4.9426808655054784E-2</c:v>
                </c:pt>
                <c:pt idx="4">
                  <c:v>0.1813656053096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8031779956883459E-2</c:v>
                </c:pt>
                <c:pt idx="3">
                  <c:v>3.9118744057247593E-2</c:v>
                </c:pt>
                <c:pt idx="4">
                  <c:v>0.103283275249647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5.5054676525125794E-2</c:v>
                </c:pt>
                <c:pt idx="4">
                  <c:v>7.4612851658717824E-2</c:v>
                </c:pt>
                <c:pt idx="5">
                  <c:v>4.7201494210500729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435067702788914E-2</c:v>
                </c:pt>
                <c:pt idx="2">
                  <c:v>3.0006664176675462E-6</c:v>
                </c:pt>
                <c:pt idx="3">
                  <c:v>0.10258651376439401</c:v>
                </c:pt>
                <c:pt idx="4">
                  <c:v>0.23710763673649138</c:v>
                </c:pt>
                <c:pt idx="5">
                  <c:v>5.13324678377447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4.1999999999999997E-3</c:v>
                </c:pt>
                <c:pt idx="5">
                  <c:v>0.9958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326372359036796E-2</c:v>
                </c:pt>
                <c:pt idx="2">
                  <c:v>7.2599537803512179E-2</c:v>
                </c:pt>
                <c:pt idx="3">
                  <c:v>0.29723458418362969</c:v>
                </c:pt>
                <c:pt idx="4">
                  <c:v>0.55923618607313497</c:v>
                </c:pt>
                <c:pt idx="5">
                  <c:v>5.048543530884941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2.8713407016313334E-5</c:v>
                </c:pt>
                <c:pt idx="5">
                  <c:v>6.736072035449517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4798148634116057E-3</c:v>
                </c:pt>
                <c:pt idx="2">
                  <c:v>7.2599537803512179E-2</c:v>
                </c:pt>
                <c:pt idx="3">
                  <c:v>9.908005973942835E-2</c:v>
                </c:pt>
                <c:pt idx="4">
                  <c:v>0.15379720625932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3.7465906228928772E-2</c:v>
                </c:pt>
                <c:pt idx="4">
                  <c:v>0.105436135671197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0815940222649742E-2</c:v>
                </c:pt>
                <c:pt idx="3">
                  <c:v>5.1972548894969002E-2</c:v>
                </c:pt>
                <c:pt idx="4">
                  <c:v>7.98482548892637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0617272975446421E-5</c:v>
                </c:pt>
                <c:pt idx="3">
                  <c:v>0.10871606932030353</c:v>
                </c:pt>
                <c:pt idx="4">
                  <c:v>0.22012587584633639</c:v>
                </c:pt>
                <c:pt idx="5">
                  <c:v>4.374936327339989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132416561429879E-3</c:v>
                </c:pt>
                <c:pt idx="1">
                  <c:v>9.1680698553222532E-3</c:v>
                </c:pt>
                <c:pt idx="2">
                  <c:v>9.5878988297154716E-2</c:v>
                </c:pt>
                <c:pt idx="3">
                  <c:v>0.12681280824640867</c:v>
                </c:pt>
                <c:pt idx="4">
                  <c:v>0.38312067811449413</c:v>
                </c:pt>
                <c:pt idx="5">
                  <c:v>0.382006213830477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9487915336276094E-3</c:v>
                </c:pt>
                <c:pt idx="1">
                  <c:v>7.0813147290244606E-3</c:v>
                </c:pt>
                <c:pt idx="2">
                  <c:v>5.9583497028407206E-2</c:v>
                </c:pt>
                <c:pt idx="3">
                  <c:v>4.4747968937113539E-2</c:v>
                </c:pt>
                <c:pt idx="4">
                  <c:v>0.2200930451692536</c:v>
                </c:pt>
                <c:pt idx="5">
                  <c:v>0.231664845584989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2.5338508667762823E-2</c:v>
                </c:pt>
                <c:pt idx="3">
                  <c:v>1.8231797180502881E-2</c:v>
                </c:pt>
                <c:pt idx="4">
                  <c:v>3.9551849488055152E-2</c:v>
                </c:pt>
                <c:pt idx="5">
                  <c:v>4.65519492121854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8.0315571529386721E-3</c:v>
                </c:pt>
                <c:pt idx="3">
                  <c:v>1.1385012787671881E-2</c:v>
                </c:pt>
                <c:pt idx="4">
                  <c:v>2.4798644373535281E-2</c:v>
                </c:pt>
                <c:pt idx="5">
                  <c:v>4.469824120521619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0644501225153785E-3</c:v>
                </c:pt>
                <c:pt idx="1">
                  <c:v>2.0867551262977921E-3</c:v>
                </c:pt>
                <c:pt idx="3">
                  <c:v>5.2448029341120361E-2</c:v>
                </c:pt>
                <c:pt idx="4">
                  <c:v>9.8677139083650098E-2</c:v>
                </c:pt>
                <c:pt idx="5">
                  <c:v>5.909117782808562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0810000882490153E-3</c:v>
                </c:pt>
                <c:pt idx="1">
                  <c:v>3.2119265828930418E-2</c:v>
                </c:pt>
                <c:pt idx="2">
                  <c:v>0.1134814049493723</c:v>
                </c:pt>
                <c:pt idx="3">
                  <c:v>0.23589599597480859</c:v>
                </c:pt>
                <c:pt idx="4">
                  <c:v>0.40814205728880371</c:v>
                </c:pt>
                <c:pt idx="5">
                  <c:v>0.20556364616861456</c:v>
                </c:pt>
                <c:pt idx="6">
                  <c:v>7.166297012213648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4975365598015995E-3</c:v>
                </c:pt>
                <c:pt idx="1">
                  <c:v>2.6598041864621942E-3</c:v>
                </c:pt>
                <c:pt idx="2">
                  <c:v>8.6510670533308409E-2</c:v>
                </c:pt>
                <c:pt idx="3">
                  <c:v>0.12974197681813057</c:v>
                </c:pt>
                <c:pt idx="4">
                  <c:v>0.431716533043907</c:v>
                </c:pt>
                <c:pt idx="5">
                  <c:v>0.3468734788583902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6379025521232942E-3</c:v>
                </c:pt>
                <c:pt idx="2">
                  <c:v>5.4935686849600637E-2</c:v>
                </c:pt>
                <c:pt idx="3">
                  <c:v>3.0131992612146163E-2</c:v>
                </c:pt>
                <c:pt idx="4">
                  <c:v>0.25750047951529925</c:v>
                </c:pt>
                <c:pt idx="5">
                  <c:v>0.179527410156338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6.7867160776327196E-6</c:v>
                </c:pt>
                <c:pt idx="3">
                  <c:v>2.6903631912361108E-2</c:v>
                </c:pt>
                <c:pt idx="4">
                  <c:v>4.799937502108327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015872551181919E-2</c:v>
                </c:pt>
                <c:pt idx="3">
                  <c:v>1.4920294777882427E-2</c:v>
                </c:pt>
                <c:pt idx="4">
                  <c:v>2.7240050179626343E-2</c:v>
                </c:pt>
                <c:pt idx="5">
                  <c:v>4.62098106513727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0151149182612673E-3</c:v>
                </c:pt>
                <c:pt idx="2">
                  <c:v>1.1416258171888585E-2</c:v>
                </c:pt>
                <c:pt idx="3">
                  <c:v>5.7786057515740862E-2</c:v>
                </c:pt>
                <c:pt idx="4">
                  <c:v>9.8976628327898164E-2</c:v>
                </c:pt>
                <c:pt idx="5">
                  <c:v>0.1211362580506793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0815776284355207E-4</c:v>
                </c:pt>
                <c:pt idx="2">
                  <c:v>8.3312816052570876E-2</c:v>
                </c:pt>
                <c:pt idx="3">
                  <c:v>0.13055996567023354</c:v>
                </c:pt>
                <c:pt idx="4">
                  <c:v>0.38648477014640992</c:v>
                </c:pt>
                <c:pt idx="5">
                  <c:v>0.3986729164574497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3.1739914264271918E-2</c:v>
                </c:pt>
                <c:pt idx="3">
                  <c:v>4.3716402377673984E-2</c:v>
                </c:pt>
                <c:pt idx="4">
                  <c:v>0.19798381364191134</c:v>
                </c:pt>
                <c:pt idx="5">
                  <c:v>0.240702350463839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4.0702129634083491E-2</c:v>
                </c:pt>
                <c:pt idx="3">
                  <c:v>3.0382577045142214E-2</c:v>
                </c:pt>
                <c:pt idx="4">
                  <c:v>7.0619147688679121E-2</c:v>
                </c:pt>
                <c:pt idx="5">
                  <c:v>6.492019061240952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9618211708881627E-2</c:v>
                </c:pt>
                <c:pt idx="4">
                  <c:v>5.420166632791263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5.0815776284355207E-4</c:v>
                </c:pt>
                <c:pt idx="2">
                  <c:v>1.0870772154215462E-2</c:v>
                </c:pt>
                <c:pt idx="3">
                  <c:v>1.6842774538535707E-2</c:v>
                </c:pt>
                <c:pt idx="4">
                  <c:v>6.3680142487906849E-2</c:v>
                </c:pt>
                <c:pt idx="5">
                  <c:v>9.305037538120070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797037320037875E-2</c:v>
                </c:pt>
                <c:pt idx="1">
                  <c:v>6.6281020707424962E-2</c:v>
                </c:pt>
                <c:pt idx="2">
                  <c:v>0.21222544325068682</c:v>
                </c:pt>
                <c:pt idx="3">
                  <c:v>0.4881235136927875</c:v>
                </c:pt>
                <c:pt idx="4">
                  <c:v>0.20707641511045416</c:v>
                </c:pt>
                <c:pt idx="5">
                  <c:v>9.496569918608645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0238617619303347E-6</c:v>
                </c:pt>
                <c:pt idx="1">
                  <c:v>5.2896619090354015E-2</c:v>
                </c:pt>
                <c:pt idx="2">
                  <c:v>8.3754436001402893E-2</c:v>
                </c:pt>
                <c:pt idx="3">
                  <c:v>0.14996591681868793</c:v>
                </c:pt>
                <c:pt idx="4">
                  <c:v>7.5151478632054028E-2</c:v>
                </c:pt>
                <c:pt idx="5">
                  <c:v>1.806205548743536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8618861954467054E-2</c:v>
                </c:pt>
                <c:pt idx="4">
                  <c:v>6.7762173818584862E-2</c:v>
                </c:pt>
                <c:pt idx="5">
                  <c:v>2.39505824768597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854849497948708E-4</c:v>
                </c:pt>
                <c:pt idx="2">
                  <c:v>7.5135480004825964E-2</c:v>
                </c:pt>
                <c:pt idx="3">
                  <c:v>3.5992839927888994E-2</c:v>
                </c:pt>
                <c:pt idx="4">
                  <c:v>1.752774248987401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6795013458275946E-2</c:v>
                </c:pt>
                <c:pt idx="1">
                  <c:v>1.2998916667276076E-2</c:v>
                </c:pt>
                <c:pt idx="2">
                  <c:v>5.3335527244457968E-2</c:v>
                </c:pt>
                <c:pt idx="3">
                  <c:v>0.21354589499174359</c:v>
                </c:pt>
                <c:pt idx="4">
                  <c:v>4.6635020169941248E-2</c:v>
                </c:pt>
                <c:pt idx="5">
                  <c:v>5.29530612217913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30936481089645E-2</c:v>
                </c:pt>
                <c:pt idx="1">
                  <c:v>4.58853424980189E-2</c:v>
                </c:pt>
                <c:pt idx="2">
                  <c:v>0.19124469261645943</c:v>
                </c:pt>
                <c:pt idx="3">
                  <c:v>0.50343710515048379</c:v>
                </c:pt>
                <c:pt idx="4">
                  <c:v>0.23257033706164643</c:v>
                </c:pt>
                <c:pt idx="5">
                  <c:v>1.17315861923018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8.123258798760101E-3</c:v>
                </c:pt>
                <c:pt idx="3">
                  <c:v>1.9586700359540744E-3</c:v>
                </c:pt>
                <c:pt idx="4">
                  <c:v>8.8809632822244248E-3</c:v>
                </c:pt>
                <c:pt idx="5">
                  <c:v>6.051217045025776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4958174110288519E-6</c:v>
                </c:pt>
                <c:pt idx="1">
                  <c:v>9.2451416695232998E-3</c:v>
                </c:pt>
                <c:pt idx="2">
                  <c:v>4.0919173330030652E-2</c:v>
                </c:pt>
                <c:pt idx="3">
                  <c:v>5.5159640769974413E-2</c:v>
                </c:pt>
                <c:pt idx="4">
                  <c:v>0.15016308138349577</c:v>
                </c:pt>
                <c:pt idx="5">
                  <c:v>8.0742727458019248E-2</c:v>
                </c:pt>
                <c:pt idx="6">
                  <c:v>6.4005628720702489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9805135674046311E-6</c:v>
                </c:pt>
                <c:pt idx="1">
                  <c:v>4.3536867143488152E-6</c:v>
                </c:pt>
                <c:pt idx="2">
                  <c:v>5.3234779363264184E-3</c:v>
                </c:pt>
                <c:pt idx="3">
                  <c:v>7.3885580806643007E-3</c:v>
                </c:pt>
                <c:pt idx="4">
                  <c:v>2.316147177190065E-2</c:v>
                </c:pt>
                <c:pt idx="5">
                  <c:v>9.831010642186118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2566037556505814E-3</c:v>
                </c:pt>
                <c:pt idx="2">
                  <c:v>6.1774139088906594E-3</c:v>
                </c:pt>
                <c:pt idx="3">
                  <c:v>6.2881948613748833E-3</c:v>
                </c:pt>
                <c:pt idx="4">
                  <c:v>2.3073758924982701E-2</c:v>
                </c:pt>
                <c:pt idx="5">
                  <c:v>1.499002216502655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0735237572705821E-3</c:v>
                </c:pt>
                <c:pt idx="1">
                  <c:v>2.0613166717042185E-2</c:v>
                </c:pt>
                <c:pt idx="2">
                  <c:v>5.2938080975364454E-2</c:v>
                </c:pt>
                <c:pt idx="3">
                  <c:v>0.16510093222684091</c:v>
                </c:pt>
                <c:pt idx="4">
                  <c:v>0.20286278192620019</c:v>
                </c:pt>
                <c:pt idx="5">
                  <c:v>0.11628759838484828</c:v>
                </c:pt>
                <c:pt idx="6">
                  <c:v>6.526240725006622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2843822305474016E-2</c:v>
                </c:pt>
                <c:pt idx="2">
                  <c:v>6.3974896538575313E-2</c:v>
                </c:pt>
                <c:pt idx="3">
                  <c:v>0.14093418959066523</c:v>
                </c:pt>
                <c:pt idx="4">
                  <c:v>7.10388434465586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3921297738606626E-2</c:v>
                </c:pt>
                <c:pt idx="4">
                  <c:v>8.2993007242709221E-2</c:v>
                </c:pt>
                <c:pt idx="5">
                  <c:v>3.603623746022635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8.3154878141065264E-4</c:v>
                </c:pt>
                <c:pt idx="2">
                  <c:v>7.4036116742946231E-2</c:v>
                </c:pt>
                <c:pt idx="3">
                  <c:v>4.9380779319311785E-2</c:v>
                </c:pt>
                <c:pt idx="4">
                  <c:v>1.46272243837767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130936481089645E-2</c:v>
                </c:pt>
                <c:pt idx="1">
                  <c:v>1.2209971411134227E-2</c:v>
                </c:pt>
                <c:pt idx="2">
                  <c:v>5.3233679334937875E-2</c:v>
                </c:pt>
                <c:pt idx="3">
                  <c:v>0.22920083850190018</c:v>
                </c:pt>
                <c:pt idx="4">
                  <c:v>6.3911261988601809E-2</c:v>
                </c:pt>
                <c:pt idx="5">
                  <c:v>8.12796244627917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262381599003958E-2</c:v>
                </c:pt>
                <c:pt idx="1">
                  <c:v>6.7529882543703984E-2</c:v>
                </c:pt>
                <c:pt idx="2">
                  <c:v>0.22654494927316576</c:v>
                </c:pt>
                <c:pt idx="3">
                  <c:v>0.47410950417657494</c:v>
                </c:pt>
                <c:pt idx="4">
                  <c:v>0.18871797876878638</c:v>
                </c:pt>
                <c:pt idx="5">
                  <c:v>1.383530363876503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10713691627244884</c:v>
                </c:pt>
                <c:pt idx="4">
                  <c:v>6.8946896404207661E-2</c:v>
                </c:pt>
                <c:pt idx="5">
                  <c:v>3.251600805340189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5333232533177838E-2</c:v>
                </c:pt>
                <c:pt idx="2">
                  <c:v>7.0107424510208904E-2</c:v>
                </c:pt>
                <c:pt idx="3">
                  <c:v>9.2244802582413174E-2</c:v>
                </c:pt>
                <c:pt idx="4">
                  <c:v>5.7574974938621626E-2</c:v>
                </c:pt>
                <c:pt idx="5">
                  <c:v>3.849721919379649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1897722085289953E-2</c:v>
                </c:pt>
                <c:pt idx="2">
                  <c:v>4.9725030197845625E-2</c:v>
                </c:pt>
                <c:pt idx="3">
                  <c:v>8.697601703860236E-2</c:v>
                </c:pt>
                <c:pt idx="4">
                  <c:v>2.3761273400165282E-2</c:v>
                </c:pt>
                <c:pt idx="5">
                  <c:v>6.68690868832230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9262381599003958E-2</c:v>
                </c:pt>
                <c:pt idx="1">
                  <c:v>2.9892792523618708E-4</c:v>
                </c:pt>
                <c:pt idx="2">
                  <c:v>0.10671249456511124</c:v>
                </c:pt>
                <c:pt idx="3">
                  <c:v>0.18775176828311049</c:v>
                </c:pt>
                <c:pt idx="4">
                  <c:v>3.8434834025791821E-2</c:v>
                </c:pt>
                <c:pt idx="5">
                  <c:v>4.707222572289747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163206576342793E-3</c:v>
                </c:pt>
                <c:pt idx="2">
                  <c:v>7.1630185775853478E-2</c:v>
                </c:pt>
                <c:pt idx="3">
                  <c:v>0.18213042192281223</c:v>
                </c:pt>
                <c:pt idx="4">
                  <c:v>0.58337040901939197</c:v>
                </c:pt>
                <c:pt idx="5">
                  <c:v>0.15683276160589696</c:v>
                </c:pt>
                <c:pt idx="6">
                  <c:v>3.847281902812153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8.7599463244546197E-5</c:v>
                </c:pt>
                <c:pt idx="2">
                  <c:v>2.3159885139278184E-2</c:v>
                </c:pt>
                <c:pt idx="3">
                  <c:v>9.079313517481756E-2</c:v>
                </c:pt>
                <c:pt idx="4">
                  <c:v>0.24124098885699305</c:v>
                </c:pt>
                <c:pt idx="5">
                  <c:v>7.5033477263298107E-2</c:v>
                </c:pt>
                <c:pt idx="6">
                  <c:v>3.703586436231475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4497032775931784E-4</c:v>
                </c:pt>
                <c:pt idx="2">
                  <c:v>3.5505788445723573E-2</c:v>
                </c:pt>
                <c:pt idx="3">
                  <c:v>4.8514440208670587E-2</c:v>
                </c:pt>
                <c:pt idx="4">
                  <c:v>0.14895993286776413</c:v>
                </c:pt>
                <c:pt idx="5">
                  <c:v>8.140464273285479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3927200276801803E-3</c:v>
                </c:pt>
                <c:pt idx="3">
                  <c:v>2.4115749724647358E-2</c:v>
                </c:pt>
                <c:pt idx="4">
                  <c:v>5.2993314390311158E-2</c:v>
                </c:pt>
                <c:pt idx="5">
                  <c:v>6.364195018978527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1.057179216317153E-2</c:v>
                </c:pt>
                <c:pt idx="3">
                  <c:v>1.8707096814676735E-2</c:v>
                </c:pt>
                <c:pt idx="4">
                  <c:v>0.1401761729043236</c:v>
                </c:pt>
                <c:pt idx="5">
                  <c:v>7.3022400567415519E-2</c:v>
                </c:pt>
                <c:pt idx="6">
                  <c:v>1.436954665806782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1035385751206645E-3</c:v>
                </c:pt>
                <c:pt idx="2">
                  <c:v>9.2177410380318181E-2</c:v>
                </c:pt>
                <c:pt idx="3">
                  <c:v>0.14424491130230155</c:v>
                </c:pt>
                <c:pt idx="4">
                  <c:v>0.56687151041155004</c:v>
                </c:pt>
                <c:pt idx="5">
                  <c:v>0.19372224476650263</c:v>
                </c:pt>
                <c:pt idx="6">
                  <c:v>7.2957935325007519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3007935502443258E-2</c:v>
                </c:pt>
                <c:pt idx="3">
                  <c:v>5.2165348389913241E-2</c:v>
                </c:pt>
                <c:pt idx="4">
                  <c:v>0.20214649925508837</c:v>
                </c:pt>
                <c:pt idx="5">
                  <c:v>0.10372441251558287</c:v>
                </c:pt>
                <c:pt idx="6">
                  <c:v>4.525976182421893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0785858632611054E-5</c:v>
                </c:pt>
                <c:pt idx="2">
                  <c:v>3.7643461722091778E-2</c:v>
                </c:pt>
                <c:pt idx="3">
                  <c:v>5.2246089232947733E-2</c:v>
                </c:pt>
                <c:pt idx="4">
                  <c:v>0.16377976700594907</c:v>
                </c:pt>
                <c:pt idx="5">
                  <c:v>6.951719857300417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havro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3.033674906731739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1.1526013155783148E-2</c:v>
                </c:pt>
                <c:pt idx="3">
                  <c:v>3.9833473679440595E-2</c:v>
                </c:pt>
                <c:pt idx="4">
                  <c:v>0.17060849508319506</c:v>
                </c:pt>
                <c:pt idx="5">
                  <c:v>8.3046112393619323E-2</c:v>
                </c:pt>
                <c:pt idx="6">
                  <c:v>2.769817350078858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4410000000000001</c:v>
                </c:pt>
                <c:pt idx="3">
                  <c:v>0.16689999999999999</c:v>
                </c:pt>
                <c:pt idx="4">
                  <c:v>0.37459999999999999</c:v>
                </c:pt>
                <c:pt idx="5">
                  <c:v>0.214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53742015450741E-3</c:v>
                </c:pt>
                <c:pt idx="2">
                  <c:v>0.10056376439324646</c:v>
                </c:pt>
                <c:pt idx="3">
                  <c:v>0.20390060448269487</c:v>
                </c:pt>
                <c:pt idx="4">
                  <c:v>0.55943323609585205</c:v>
                </c:pt>
                <c:pt idx="5">
                  <c:v>0.1038446609746087</c:v>
                </c:pt>
                <c:pt idx="6">
                  <c:v>2.87023598520529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5815978632429484E-2</c:v>
                </c:pt>
                <c:pt idx="3">
                  <c:v>7.6385241605657572E-2</c:v>
                </c:pt>
                <c:pt idx="4">
                  <c:v>0.19863748728436206</c:v>
                </c:pt>
                <c:pt idx="5">
                  <c:v>3.435974670500273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3709339543574292E-2</c:v>
                </c:pt>
                <c:pt idx="3">
                  <c:v>9.3925668571629539E-2</c:v>
                </c:pt>
                <c:pt idx="4">
                  <c:v>0.18685064975207327</c:v>
                </c:pt>
                <c:pt idx="5">
                  <c:v>6.00227565615086E-2</c:v>
                </c:pt>
                <c:pt idx="6">
                  <c:v>2.870235985205291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6727910802191755E-2</c:v>
                </c:pt>
                <c:pt idx="4">
                  <c:v>6.945060947337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5553742015450741E-3</c:v>
                </c:pt>
                <c:pt idx="2">
                  <c:v>1.0384462172426975E-3</c:v>
                </c:pt>
                <c:pt idx="3">
                  <c:v>6.8617835032159964E-3</c:v>
                </c:pt>
                <c:pt idx="4">
                  <c:v>0.1044944895860412</c:v>
                </c:pt>
                <c:pt idx="5">
                  <c:v>4.038592974259980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3856141960207543E-4</c:v>
                </c:pt>
                <c:pt idx="1">
                  <c:v>1.5620317363869789E-3</c:v>
                </c:pt>
                <c:pt idx="2">
                  <c:v>5.554790142341344E-3</c:v>
                </c:pt>
                <c:pt idx="3">
                  <c:v>3.366878548745144E-2</c:v>
                </c:pt>
                <c:pt idx="4">
                  <c:v>0.88843076945420352</c:v>
                </c:pt>
                <c:pt idx="5">
                  <c:v>7.02450617600147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9993966973793626E-5</c:v>
                </c:pt>
                <c:pt idx="4">
                  <c:v>0.32425813305511542</c:v>
                </c:pt>
                <c:pt idx="5">
                  <c:v>1.21289536781735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9.3137540633138035E-4</c:v>
                </c:pt>
                <c:pt idx="4">
                  <c:v>0.16433112599937943</c:v>
                </c:pt>
                <c:pt idx="5">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5.185674526282818E-4</c:v>
                </c:pt>
                <c:pt idx="1">
                  <c:v>1.5620317363869789E-3</c:v>
                </c:pt>
                <c:pt idx="2">
                  <c:v>5.554790142341344E-3</c:v>
                </c:pt>
                <c:pt idx="3">
                  <c:v>3.2737410081120064E-2</c:v>
                </c:pt>
                <c:pt idx="4">
                  <c:v>0.21684337898925027</c:v>
                </c:pt>
                <c:pt idx="5">
                  <c:v>4.105279054938416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450492937243368E-3</c:v>
                </c:pt>
                <c:pt idx="1">
                  <c:v>2.2320532191512647E-3</c:v>
                </c:pt>
                <c:pt idx="2">
                  <c:v>5.5221708815645486E-3</c:v>
                </c:pt>
                <c:pt idx="3">
                  <c:v>3.2054568203037939E-2</c:v>
                </c:pt>
                <c:pt idx="4">
                  <c:v>0.84684811308442187</c:v>
                </c:pt>
                <c:pt idx="5">
                  <c:v>0.11209804531810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2784618550905057E-4</c:v>
                </c:pt>
                <c:pt idx="4">
                  <c:v>0.20313096092644092</c:v>
                </c:pt>
                <c:pt idx="5">
                  <c:v>1.655333585992952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7623447649261598</c:v>
                </c:pt>
                <c:pt idx="5">
                  <c:v>2.06328056763078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1172031082152861E-3</c:v>
                </c:pt>
                <c:pt idx="1">
                  <c:v>2.2320532191512647E-3</c:v>
                </c:pt>
                <c:pt idx="2">
                  <c:v>5.5221708815645486E-3</c:v>
                </c:pt>
                <c:pt idx="3">
                  <c:v>3.2054568203037939E-2</c:v>
                </c:pt>
                <c:pt idx="4">
                  <c:v>0.30120106393124985</c:v>
                </c:pt>
                <c:pt idx="5">
                  <c:v>7.49119037818627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7447779611227729E-3</c:v>
                </c:pt>
                <c:pt idx="1">
                  <c:v>2.7760245056699179E-2</c:v>
                </c:pt>
                <c:pt idx="2">
                  <c:v>0.11934437643587233</c:v>
                </c:pt>
                <c:pt idx="3">
                  <c:v>0.26734464696552929</c:v>
                </c:pt>
                <c:pt idx="4">
                  <c:v>0.37912908429641573</c:v>
                </c:pt>
                <c:pt idx="5">
                  <c:v>0.19566123676135391</c:v>
                </c:pt>
                <c:pt idx="6">
                  <c:v>4.015632523006747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7239854391077266E-2</c:v>
                </c:pt>
                <c:pt idx="4">
                  <c:v>0.86683859195054502</c:v>
                </c:pt>
                <c:pt idx="5">
                  <c:v>8.535866903762184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2677053560622282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26279747884294907</c:v>
                </c:pt>
                <c:pt idx="5">
                  <c:v>2.31953896714489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5900475742707917</c:v>
                </c:pt>
                <c:pt idx="5">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7239854391077266E-2</c:v>
                </c:pt>
                <c:pt idx="4">
                  <c:v>0.17733099961828863</c:v>
                </c:pt>
                <c:pt idx="5">
                  <c:v>3.84347971809218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1469999999999998</c:v>
                </c:pt>
                <c:pt idx="2">
                  <c:v>0.22209999999999999</c:v>
                </c:pt>
                <c:pt idx="3">
                  <c:v>0.16370000000000001</c:v>
                </c:pt>
                <c:pt idx="4">
                  <c:v>0.25140000000000001</c:v>
                </c:pt>
                <c:pt idx="5">
                  <c:v>4.7600000000000003E-2</c:v>
                </c:pt>
                <c:pt idx="6">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7115859415532545E-3</c:v>
                </c:pt>
                <c:pt idx="1">
                  <c:v>3.3487926822339267E-2</c:v>
                </c:pt>
                <c:pt idx="2">
                  <c:v>0.11542314622600523</c:v>
                </c:pt>
                <c:pt idx="3">
                  <c:v>0.25306267888657741</c:v>
                </c:pt>
                <c:pt idx="4">
                  <c:v>0.39242675220379619</c:v>
                </c:pt>
                <c:pt idx="5">
                  <c:v>0.20010811840969855</c:v>
                </c:pt>
                <c:pt idx="6">
                  <c:v>7.797915100301700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9128423267046278E-8</c:v>
                </c:pt>
                <c:pt idx="1">
                  <c:v>8.2849556564413614E-3</c:v>
                </c:pt>
                <c:pt idx="2">
                  <c:v>5.8474147938529569E-3</c:v>
                </c:pt>
                <c:pt idx="3">
                  <c:v>4.3091835084101632E-3</c:v>
                </c:pt>
                <c:pt idx="4">
                  <c:v>6.6191223379270378E-3</c:v>
                </c:pt>
                <c:pt idx="5">
                  <c:v>1.2542588064146836E-3</c:v>
                </c:pt>
                <c:pt idx="6">
                  <c:v>1.32147976431802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6.4687839666768626E-4</c:v>
                </c:pt>
                <c:pt idx="1">
                  <c:v>1.4699899732998773E-2</c:v>
                </c:pt>
                <c:pt idx="2">
                  <c:v>4.870484135073716E-2</c:v>
                </c:pt>
                <c:pt idx="3">
                  <c:v>7.1841435164868905E-2</c:v>
                </c:pt>
                <c:pt idx="4">
                  <c:v>0.15555530438464388</c:v>
                </c:pt>
                <c:pt idx="5">
                  <c:v>9.2802072983132033E-2</c:v>
                </c:pt>
                <c:pt idx="6">
                  <c:v>5.494683725974274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009048121623818E-6</c:v>
                </c:pt>
                <c:pt idx="1">
                  <c:v>5.1156760901953684E-5</c:v>
                </c:pt>
                <c:pt idx="2">
                  <c:v>5.2652677172295419E-3</c:v>
                </c:pt>
                <c:pt idx="3">
                  <c:v>7.1943625823338749E-3</c:v>
                </c:pt>
                <c:pt idx="4">
                  <c:v>2.2089748179744576E-2</c:v>
                </c:pt>
                <c:pt idx="5">
                  <c:v>1.237918718693102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1.9542554366486414E-2</c:v>
                </c:pt>
                <c:pt idx="5">
                  <c:v>4.082138688441957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0616793683406769E-3</c:v>
                </c:pt>
                <c:pt idx="1">
                  <c:v>1.0451914671997176E-2</c:v>
                </c:pt>
                <c:pt idx="2">
                  <c:v>5.5605622364185578E-2</c:v>
                </c:pt>
                <c:pt idx="3">
                  <c:v>0.15017514326447801</c:v>
                </c:pt>
                <c:pt idx="4">
                  <c:v>0.20816257730148061</c:v>
                </c:pt>
                <c:pt idx="5">
                  <c:v>0.1007317292130168</c:v>
                </c:pt>
                <c:pt idx="6">
                  <c:v>2.171083397895624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3239999999999997</c:v>
                </c:pt>
                <c:pt idx="2">
                  <c:v>0.27910000000000001</c:v>
                </c:pt>
                <c:pt idx="3">
                  <c:v>3.09E-2</c:v>
                </c:pt>
                <c:pt idx="4">
                  <c:v>0.3024</c:v>
                </c:pt>
                <c:pt idx="5">
                  <c:v>5.4100000000000002E-2</c:v>
                </c:pt>
                <c:pt idx="6">
                  <c:v>1.1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0810000882490153E-3</c:v>
                </c:pt>
                <c:pt idx="1">
                  <c:v>3.2119265828930418E-2</c:v>
                </c:pt>
                <c:pt idx="2">
                  <c:v>0.1134814049493723</c:v>
                </c:pt>
                <c:pt idx="3">
                  <c:v>0.23589599597480859</c:v>
                </c:pt>
                <c:pt idx="4">
                  <c:v>0.40814205728880371</c:v>
                </c:pt>
                <c:pt idx="5">
                  <c:v>0.20556364616861456</c:v>
                </c:pt>
                <c:pt idx="6">
                  <c:v>7.166297012213648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1152300943159527E-7</c:v>
                </c:pt>
                <c:pt idx="1">
                  <c:v>9.6116834867528214E-3</c:v>
                </c:pt>
                <c:pt idx="2">
                  <c:v>8.0702682118940269E-3</c:v>
                </c:pt>
                <c:pt idx="3">
                  <c:v>8.9468476447193983E-4</c:v>
                </c:pt>
                <c:pt idx="4">
                  <c:v>8.7428205883108116E-3</c:v>
                </c:pt>
                <c:pt idx="5">
                  <c:v>1.5639815268826257E-3</c:v>
                </c:pt>
                <c:pt idx="6">
                  <c:v>3.1518118203975463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4958174110288519E-6</c:v>
                </c:pt>
                <c:pt idx="1">
                  <c:v>9.2451416695232998E-3</c:v>
                </c:pt>
                <c:pt idx="2">
                  <c:v>4.0919173330030652E-2</c:v>
                </c:pt>
                <c:pt idx="3">
                  <c:v>5.5159640769974413E-2</c:v>
                </c:pt>
                <c:pt idx="4">
                  <c:v>0.15016308138349577</c:v>
                </c:pt>
                <c:pt idx="5">
                  <c:v>8.0742727458019248E-2</c:v>
                </c:pt>
                <c:pt idx="6">
                  <c:v>6.4005628720702489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9805135674046311E-6</c:v>
                </c:pt>
                <c:pt idx="1">
                  <c:v>4.3536867143488152E-6</c:v>
                </c:pt>
                <c:pt idx="2">
                  <c:v>5.3234779363264184E-3</c:v>
                </c:pt>
                <c:pt idx="3">
                  <c:v>7.3885580806643007E-3</c:v>
                </c:pt>
                <c:pt idx="4">
                  <c:v>2.316147177190065E-2</c:v>
                </c:pt>
                <c:pt idx="5">
                  <c:v>9.831010642186118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2566037556505814E-3</c:v>
                </c:pt>
                <c:pt idx="2">
                  <c:v>6.1774139088906594E-3</c:v>
                </c:pt>
                <c:pt idx="3">
                  <c:v>6.2881948613748833E-3</c:v>
                </c:pt>
                <c:pt idx="4">
                  <c:v>2.3073758924982701E-2</c:v>
                </c:pt>
                <c:pt idx="5">
                  <c:v>1.499002216502655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0734122342611506E-3</c:v>
                </c:pt>
                <c:pt idx="1">
                  <c:v>1.1001483230289362E-2</c:v>
                </c:pt>
                <c:pt idx="2">
                  <c:v>5.2991071562230534E-2</c:v>
                </c:pt>
                <c:pt idx="3">
                  <c:v>0.16616491749832304</c:v>
                </c:pt>
                <c:pt idx="4">
                  <c:v>0.20300092462011382</c:v>
                </c:pt>
                <c:pt idx="5">
                  <c:v>0.12077483390299143</c:v>
                </c:pt>
                <c:pt idx="6">
                  <c:v>6.211059542966867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9509999999999997</c:v>
                </c:pt>
                <c:pt idx="2">
                  <c:v>0.2591</c:v>
                </c:pt>
                <c:pt idx="3">
                  <c:v>9.8100000000000007E-2</c:v>
                </c:pt>
                <c:pt idx="4">
                  <c:v>0.32700000000000001</c:v>
                </c:pt>
                <c:pt idx="5">
                  <c:v>2.06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7447779611227729E-3</c:v>
                </c:pt>
                <c:pt idx="1">
                  <c:v>2.7760245056699179E-2</c:v>
                </c:pt>
                <c:pt idx="2">
                  <c:v>0.11934437643587233</c:v>
                </c:pt>
                <c:pt idx="3">
                  <c:v>0.26734464696552929</c:v>
                </c:pt>
                <c:pt idx="4">
                  <c:v>0.37912908429641573</c:v>
                </c:pt>
                <c:pt idx="5">
                  <c:v>0.19566123676135391</c:v>
                </c:pt>
                <c:pt idx="6">
                  <c:v>4.015632523006747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6.2916766159098192E-3</c:v>
                </c:pt>
                <c:pt idx="3">
                  <c:v>4.2998971301098686E-3</c:v>
                </c:pt>
                <c:pt idx="4">
                  <c:v>9.6544375593317269E-3</c:v>
                </c:pt>
                <c:pt idx="5">
                  <c:v>5.524777806509580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2456834254917721E-2</c:v>
                </c:pt>
                <c:pt idx="2">
                  <c:v>3.7516413536784608E-2</c:v>
                </c:pt>
                <c:pt idx="3">
                  <c:v>5.231895468278628E-2</c:v>
                </c:pt>
                <c:pt idx="4">
                  <c:v>0.13016017188470269</c:v>
                </c:pt>
                <c:pt idx="5">
                  <c:v>8.7693106883492272E-2</c:v>
                </c:pt>
                <c:pt idx="6">
                  <c:v>3.971468958231072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6.3369476628261506E-3</c:v>
                </c:pt>
                <c:pt idx="3">
                  <c:v>1.0565075607154282E-2</c:v>
                </c:pt>
                <c:pt idx="4">
                  <c:v>2.7474156361364386E-2</c:v>
                </c:pt>
                <c:pt idx="5">
                  <c:v>4.752401303580311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6953775476106574E-2</c:v>
                </c:pt>
                <c:pt idx="5">
                  <c:v>4.382154823223701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6.7447779611227729E-3</c:v>
                </c:pt>
                <c:pt idx="1">
                  <c:v>1.5303410801781457E-2</c:v>
                </c:pt>
                <c:pt idx="2">
                  <c:v>6.9199338620351741E-2</c:v>
                </c:pt>
                <c:pt idx="3">
                  <c:v>0.17320694406937234</c:v>
                </c:pt>
                <c:pt idx="4">
                  <c:v>0.21184031849101692</c:v>
                </c:pt>
                <c:pt idx="5">
                  <c:v>9.758595711777035E-2</c:v>
                </c:pt>
                <c:pt idx="6">
                  <c:v>4.4163564775674934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9.0652299163325473E-3</c:v>
                </c:pt>
                <c:pt idx="2">
                  <c:v>7.9609345012478065E-3</c:v>
                </c:pt>
                <c:pt idx="3">
                  <c:v>3.0146749635464654E-3</c:v>
                </c:pt>
                <c:pt idx="4">
                  <c:v>1.004452642804176E-2</c:v>
                </c:pt>
                <c:pt idx="5">
                  <c:v>6.342235347164380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2456834254917721E-2</c:v>
                </c:pt>
                <c:pt idx="2">
                  <c:v>3.7516413536784608E-2</c:v>
                </c:pt>
                <c:pt idx="3">
                  <c:v>5.231895468278628E-2</c:v>
                </c:pt>
                <c:pt idx="4">
                  <c:v>0.13016017188470269</c:v>
                </c:pt>
                <c:pt idx="5">
                  <c:v>8.7693106883492272E-2</c:v>
                </c:pt>
                <c:pt idx="6">
                  <c:v>3.971468958231072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6.3369476628261506E-3</c:v>
                </c:pt>
                <c:pt idx="3">
                  <c:v>1.0565075607154282E-2</c:v>
                </c:pt>
                <c:pt idx="4">
                  <c:v>2.7474156361364386E-2</c:v>
                </c:pt>
                <c:pt idx="5">
                  <c:v>4.752401303580311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6953775476106574E-2</c:v>
                </c:pt>
                <c:pt idx="5">
                  <c:v>4.382154823223701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6.7447779611227729E-3</c:v>
                </c:pt>
                <c:pt idx="1">
                  <c:v>6.2381808854489098E-3</c:v>
                </c:pt>
                <c:pt idx="2">
                  <c:v>6.7530080735013751E-2</c:v>
                </c:pt>
                <c:pt idx="3">
                  <c:v>0.17449216623593572</c:v>
                </c:pt>
                <c:pt idx="4">
                  <c:v>0.21145022962230689</c:v>
                </c:pt>
                <c:pt idx="5">
                  <c:v>0.10247651138956348</c:v>
                </c:pt>
                <c:pt idx="6">
                  <c:v>4.4163564775674934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1469999999999998</c:v>
                </c:pt>
                <c:pt idx="2">
                  <c:v>0.22209999999999999</c:v>
                </c:pt>
                <c:pt idx="3">
                  <c:v>0.16370000000000001</c:v>
                </c:pt>
                <c:pt idx="4">
                  <c:v>0.25140000000000001</c:v>
                </c:pt>
                <c:pt idx="5">
                  <c:v>4.7600000000000003E-2</c:v>
                </c:pt>
                <c:pt idx="6">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9168034978318356E-3</c:v>
                </c:pt>
                <c:pt idx="1">
                  <c:v>3.4984186478661645E-2</c:v>
                </c:pt>
                <c:pt idx="2">
                  <c:v>0.12057696366540469</c:v>
                </c:pt>
                <c:pt idx="3">
                  <c:v>0.24394239554040859</c:v>
                </c:pt>
                <c:pt idx="4">
                  <c:v>0.40726527506674604</c:v>
                </c:pt>
                <c:pt idx="5">
                  <c:v>0.1876677037620601</c:v>
                </c:pt>
                <c:pt idx="6">
                  <c:v>6.4667198888705268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9983113193337842E-8</c:v>
                </c:pt>
                <c:pt idx="1">
                  <c:v>8.655141324150406E-3</c:v>
                </c:pt>
                <c:pt idx="2">
                  <c:v>6.1086870612731513E-3</c:v>
                </c:pt>
                <c:pt idx="3">
                  <c:v>4.5017250307176956E-3</c:v>
                </c:pt>
                <c:pt idx="4">
                  <c:v>6.9148757883885767E-3</c:v>
                </c:pt>
                <c:pt idx="5">
                  <c:v>1.3103011864812057E-3</c:v>
                </c:pt>
                <c:pt idx="6">
                  <c:v>1.3805256891489781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6.7578200474080919E-4</c:v>
                </c:pt>
                <c:pt idx="1">
                  <c:v>1.5356715825150741E-2</c:v>
                </c:pt>
                <c:pt idx="2">
                  <c:v>5.0881055076403628E-2</c:v>
                </c:pt>
                <c:pt idx="3">
                  <c:v>7.5051430576854761E-2</c:v>
                </c:pt>
                <c:pt idx="4">
                  <c:v>0.16217521398090537</c:v>
                </c:pt>
                <c:pt idx="5">
                  <c:v>9.4330398042017677E-2</c:v>
                </c:pt>
                <c:pt idx="6">
                  <c:v>5.740195379662895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143497421567376E-6</c:v>
                </c:pt>
                <c:pt idx="1">
                  <c:v>5.3442530491752056E-5</c:v>
                </c:pt>
                <c:pt idx="2">
                  <c:v>5.5005286801598748E-3</c:v>
                </c:pt>
                <c:pt idx="3">
                  <c:v>7.5158187284765062E-3</c:v>
                </c:pt>
                <c:pt idx="4">
                  <c:v>2.307675505323167E-2</c:v>
                </c:pt>
                <c:pt idx="5">
                  <c:v>1.261114290518357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7818688402678055E-3</c:v>
                </c:pt>
                <c:pt idx="2">
                  <c:v>8.5620000335562586E-3</c:v>
                </c:pt>
                <c:pt idx="3">
                  <c:v>2.0211290371335969E-2</c:v>
                </c:pt>
                <c:pt idx="4">
                  <c:v>1.3280880018183403E-2</c:v>
                </c:pt>
                <c:pt idx="5">
                  <c:v>1.325488352508142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2378580125562665E-3</c:v>
                </c:pt>
                <c:pt idx="1">
                  <c:v>9.137017958600939E-3</c:v>
                </c:pt>
                <c:pt idx="2">
                  <c:v>4.9524692814011777E-2</c:v>
                </c:pt>
                <c:pt idx="3">
                  <c:v>0.13666213083302367</c:v>
                </c:pt>
                <c:pt idx="4">
                  <c:v>0.20181755022603703</c:v>
                </c:pt>
                <c:pt idx="5">
                  <c:v>8.9440401890534704E-2</c:v>
                </c:pt>
                <c:pt idx="6">
                  <c:v>5.8847194029273281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3239999999999997</c:v>
                </c:pt>
                <c:pt idx="2">
                  <c:v>0.27910000000000001</c:v>
                </c:pt>
                <c:pt idx="3">
                  <c:v>3.09E-2</c:v>
                </c:pt>
                <c:pt idx="4">
                  <c:v>0.3024</c:v>
                </c:pt>
                <c:pt idx="5">
                  <c:v>5.41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28781024293014E-3</c:v>
                </c:pt>
                <c:pt idx="1">
                  <c:v>3.3746952717115544E-2</c:v>
                </c:pt>
                <c:pt idx="2">
                  <c:v>0.1192322273957106</c:v>
                </c:pt>
                <c:pt idx="3">
                  <c:v>0.22555260391768006</c:v>
                </c:pt>
                <c:pt idx="4">
                  <c:v>0.42483219111845827</c:v>
                </c:pt>
                <c:pt idx="5">
                  <c:v>0.1921441325302992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1717458755761993E-7</c:v>
                </c:pt>
                <c:pt idx="1">
                  <c:v>1.0098768442806877E-2</c:v>
                </c:pt>
                <c:pt idx="2">
                  <c:v>8.4792398808792319E-3</c:v>
                </c:pt>
                <c:pt idx="3">
                  <c:v>9.400241152511937E-4</c:v>
                </c:pt>
                <c:pt idx="4">
                  <c:v>9.1858747512901778E-3</c:v>
                </c:pt>
                <c:pt idx="5">
                  <c:v>1.643238389048437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6729726484407787E-6</c:v>
                </c:pt>
                <c:pt idx="1">
                  <c:v>9.7136516272242276E-3</c:v>
                </c:pt>
                <c:pt idx="2">
                  <c:v>4.2992807337090502E-2</c:v>
                </c:pt>
                <c:pt idx="3">
                  <c:v>5.7954929570050925E-2</c:v>
                </c:pt>
                <c:pt idx="4">
                  <c:v>0.15777279699652327</c:v>
                </c:pt>
                <c:pt idx="5">
                  <c:v>8.25571628563984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1822314328258191E-6</c:v>
                </c:pt>
                <c:pt idx="1">
                  <c:v>4.5743156296532397E-6</c:v>
                </c:pt>
                <c:pt idx="2">
                  <c:v>5.5932523229095844E-3</c:v>
                </c:pt>
                <c:pt idx="3">
                  <c:v>7.7629831741438445E-3</c:v>
                </c:pt>
                <c:pt idx="4">
                  <c:v>2.4335210428163334E-2</c:v>
                </c:pt>
                <c:pt idx="5">
                  <c:v>1.0329210296098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3709601785048481E-3</c:v>
                </c:pt>
                <c:pt idx="2">
                  <c:v>6.4904626465531858E-3</c:v>
                </c:pt>
                <c:pt idx="3">
                  <c:v>6.6068575724320573E-3</c:v>
                </c:pt>
                <c:pt idx="4">
                  <c:v>2.42430526150492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279837864261316E-3</c:v>
                </c:pt>
                <c:pt idx="1">
                  <c:v>1.1558998152949935E-2</c:v>
                </c:pt>
                <c:pt idx="2">
                  <c:v>5.5676465208278098E-2</c:v>
                </c:pt>
                <c:pt idx="3">
                  <c:v>0.15228780948580203</c:v>
                </c:pt>
                <c:pt idx="4">
                  <c:v>0.20929525632743223</c:v>
                </c:pt>
                <c:pt idx="5">
                  <c:v>0.1069108102552424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9509999999999997</c:v>
                </c:pt>
                <c:pt idx="2">
                  <c:v>0.2591</c:v>
                </c:pt>
                <c:pt idx="3">
                  <c:v>9.8100000000000007E-2</c:v>
                </c:pt>
                <c:pt idx="4">
                  <c:v>0.32700000000000001</c:v>
                </c:pt>
                <c:pt idx="5">
                  <c:v>2.06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1512631400680654E-3</c:v>
                </c:pt>
                <c:pt idx="1">
                  <c:v>2.9433262055105915E-2</c:v>
                </c:pt>
                <c:pt idx="2">
                  <c:v>0.12653686231031827</c:v>
                </c:pt>
                <c:pt idx="3">
                  <c:v>0.25485941787635102</c:v>
                </c:pt>
                <c:pt idx="4">
                  <c:v>0.39923577778447261</c:v>
                </c:pt>
                <c:pt idx="5">
                  <c:v>0.17852577558717275</c:v>
                </c:pt>
                <c:pt idx="6">
                  <c:v>4.257641246511296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9.6115609632492129E-3</c:v>
                </c:pt>
                <c:pt idx="2">
                  <c:v>8.4407133618661905E-3</c:v>
                </c:pt>
                <c:pt idx="3">
                  <c:v>3.1963593272249231E-3</c:v>
                </c:pt>
                <c:pt idx="4">
                  <c:v>1.0649876395981047E-2</c:v>
                </c:pt>
                <c:pt idx="5">
                  <c:v>6.724460630912064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3207565936581438E-2</c:v>
                </c:pt>
                <c:pt idx="2">
                  <c:v>3.9777402135339882E-2</c:v>
                </c:pt>
                <c:pt idx="3">
                  <c:v>5.5472042861381091E-2</c:v>
                </c:pt>
                <c:pt idx="4">
                  <c:v>0.13688010445273205</c:v>
                </c:pt>
                <c:pt idx="5">
                  <c:v>8.9466282221879911E-2</c:v>
                </c:pt>
                <c:pt idx="6">
                  <c:v>4.210816091593710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6.7188542755476236E-3</c:v>
                </c:pt>
                <c:pt idx="3">
                  <c:v>1.1201797330760105E-2</c:v>
                </c:pt>
                <c:pt idx="4">
                  <c:v>2.9129931752235976E-2</c:v>
                </c:pt>
                <c:pt idx="5">
                  <c:v>5.038812613995652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5572658981416405E-2</c:v>
                </c:pt>
                <c:pt idx="4">
                  <c:v>1.6457030227453522E-2</c:v>
                </c:pt>
                <c:pt idx="5">
                  <c:v>7.761291012633605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1512631400680654E-3</c:v>
                </c:pt>
                <c:pt idx="1">
                  <c:v>6.6141351552752642E-3</c:v>
                </c:pt>
                <c:pt idx="2">
                  <c:v>7.1599892537564575E-2</c:v>
                </c:pt>
                <c:pt idx="3">
                  <c:v>0.15941655937556851</c:v>
                </c:pt>
                <c:pt idx="4">
                  <c:v>0.20611883495607006</c:v>
                </c:pt>
                <c:pt idx="5">
                  <c:v>8.7107036939538723E-2</c:v>
                </c:pt>
                <c:pt idx="6">
                  <c:v>4.682515491758582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904808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44582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898756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0460913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439750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293602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152969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2074825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662212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375553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226929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051763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2978570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7695013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0112242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4358330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115596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065399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9683751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1296139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684608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38068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9925389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4205925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5478991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805731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498567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071949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682199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261572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837775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345182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618469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397913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946540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366250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344262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424246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2395356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386976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968209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1169640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6948028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19990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5501451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738319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828349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0857035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836394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828044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483298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2989145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8386514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0252591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967169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644460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223559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4046029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457950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41493455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245248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2336354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7622881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9049948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759544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94720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271896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312849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252819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8262571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4945487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06800306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966194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281846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66420245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6864091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47611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43775816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03529342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658991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850474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6201</Words>
  <Application>Microsoft Office PowerPoint</Application>
  <PresentationFormat>On-screen Show (16:9)</PresentationFormat>
  <Paragraphs>2030</Paragraphs>
  <Slides>8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1</vt:i4>
      </vt:variant>
    </vt:vector>
  </HeadingPairs>
  <TitlesOfParts>
    <vt:vector size="90"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4T07:3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